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embedTrueTypeFonts="1" saveSubsetFonts="1">
  <p:sldMasterIdLst>
    <p:sldMasterId id="2147483648" r:id="rId1"/>
  </p:sldMasterIdLst>
  <p:notesMasterIdLst>
    <p:notesMasterId r:id="rId14"/>
  </p:notesMasterIdLst>
  <p:sldIdLst>
    <p:sldId id="258" r:id="rId2"/>
    <p:sldId id="257" r:id="rId3"/>
    <p:sldId id="264" r:id="rId4"/>
    <p:sldId id="256" r:id="rId5"/>
    <p:sldId id="268" r:id="rId6"/>
    <p:sldId id="259" r:id="rId7"/>
    <p:sldId id="269" r:id="rId8"/>
    <p:sldId id="260" r:id="rId9"/>
    <p:sldId id="271" r:id="rId10"/>
    <p:sldId id="270" r:id="rId11"/>
    <p:sldId id="272" r:id="rId12"/>
    <p:sldId id="266" r:id="rId13"/>
  </p:sldIdLst>
  <p:sldSz cx="12192000" cy="6858000"/>
  <p:notesSz cx="6858000" cy="9144000"/>
  <p:embeddedFontLst>
    <p:embeddedFont>
      <p:font typeface="나눔스퀘어라운드 Bold" panose="020B0600000101010101" pitchFamily="50" charset="-127"/>
      <p:bold r:id="rId15"/>
    </p:embeddedFont>
    <p:embeddedFont>
      <p:font typeface="맑은 고딕" panose="020B0503020000020004" pitchFamily="50" charset="-127"/>
      <p:regular r:id="rId16"/>
      <p:bold r:id="rId17"/>
    </p:embeddedFont>
    <p:embeddedFont>
      <p:font typeface="12롯데마트드림Medium" panose="02020603020101020101" pitchFamily="18" charset="-127"/>
      <p:regular r:id="rId18"/>
    </p:embeddedFont>
    <p:embeddedFont>
      <p:font typeface="나눔스퀘어라운드 ExtraBold" panose="020B0600000101010101" pitchFamily="50" charset="-127"/>
      <p:bold r:id="rId19"/>
    </p:embeddedFont>
  </p:embeddedFontLst>
  <p:custDataLst>
    <p:tags r:id="rId20"/>
  </p:custDataLst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8141B"/>
    <a:srgbClr val="F7ABCD"/>
    <a:srgbClr val="FC811C"/>
    <a:srgbClr val="F9D37F"/>
    <a:srgbClr val="F48CB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56" d="100"/>
          <a:sy n="56" d="100"/>
        </p:scale>
        <p:origin x="84" y="32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4.fntdata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3.fntdata"/><Relationship Id="rId2" Type="http://schemas.openxmlformats.org/officeDocument/2006/relationships/slide" Target="slides/slide1.xml"/><Relationship Id="rId16" Type="http://schemas.openxmlformats.org/officeDocument/2006/relationships/font" Target="fonts/font2.fntdata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font" Target="fonts/font1.fntdata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font" Target="fonts/font5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B6ABF62-2B4C-47D3-95C0-D69BBD2C5CEC}" type="datetimeFigureOut">
              <a:rPr lang="ko-KR" altLang="en-US" smtClean="0"/>
              <a:t>2020-06-25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63BD9BC-D6A7-4112-BF18-FDE3E05C13C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508436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3BD9BC-D6A7-4112-BF18-FDE3E05C13CF}" type="slidenum">
              <a:rPr lang="ko-KR" altLang="en-US" smtClean="0"/>
              <a:t>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107360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E3A20-753D-4973-8E34-4C3FABE4F5D0}" type="datetimeFigureOut">
              <a:rPr lang="ko-KR" altLang="en-US" smtClean="0"/>
              <a:t>2020-06-25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D241A-E748-4EE4-8361-55D61F9DB28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805519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E3A20-753D-4973-8E34-4C3FABE4F5D0}" type="datetimeFigureOut">
              <a:rPr lang="ko-KR" altLang="en-US" smtClean="0"/>
              <a:t>2020-06-25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D241A-E748-4EE4-8361-55D61F9DB28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355920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E3A20-753D-4973-8E34-4C3FABE4F5D0}" type="datetimeFigureOut">
              <a:rPr lang="ko-KR" altLang="en-US" smtClean="0"/>
              <a:t>2020-06-25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D241A-E748-4EE4-8361-55D61F9DB28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161801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E3A20-753D-4973-8E34-4C3FABE4F5D0}" type="datetimeFigureOut">
              <a:rPr lang="ko-KR" altLang="en-US" smtClean="0"/>
              <a:t>2020-06-25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D241A-E748-4EE4-8361-55D61F9DB28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200447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E3A20-753D-4973-8E34-4C3FABE4F5D0}" type="datetimeFigureOut">
              <a:rPr lang="ko-KR" altLang="en-US" smtClean="0"/>
              <a:t>2020-06-25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D241A-E748-4EE4-8361-55D61F9DB28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533464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E3A20-753D-4973-8E34-4C3FABE4F5D0}" type="datetimeFigureOut">
              <a:rPr lang="ko-KR" altLang="en-US" smtClean="0"/>
              <a:t>2020-06-25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D241A-E748-4EE4-8361-55D61F9DB28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623392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E3A20-753D-4973-8E34-4C3FABE4F5D0}" type="datetimeFigureOut">
              <a:rPr lang="ko-KR" altLang="en-US" smtClean="0"/>
              <a:t>2020-06-25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D241A-E748-4EE4-8361-55D61F9DB28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938107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E3A20-753D-4973-8E34-4C3FABE4F5D0}" type="datetimeFigureOut">
              <a:rPr lang="ko-KR" altLang="en-US" smtClean="0"/>
              <a:t>2020-06-25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D241A-E748-4EE4-8361-55D61F9DB28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810773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E3A20-753D-4973-8E34-4C3FABE4F5D0}" type="datetimeFigureOut">
              <a:rPr lang="ko-KR" altLang="en-US" smtClean="0"/>
              <a:t>2020-06-25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D241A-E748-4EE4-8361-55D61F9DB28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487787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E3A20-753D-4973-8E34-4C3FABE4F5D0}" type="datetimeFigureOut">
              <a:rPr lang="ko-KR" altLang="en-US" smtClean="0"/>
              <a:t>2020-06-25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D241A-E748-4EE4-8361-55D61F9DB28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132874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E3A20-753D-4973-8E34-4C3FABE4F5D0}" type="datetimeFigureOut">
              <a:rPr lang="ko-KR" altLang="en-US" smtClean="0"/>
              <a:t>2020-06-25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D241A-E748-4EE4-8361-55D61F9DB28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853465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2E3A20-753D-4973-8E34-4C3FABE4F5D0}" type="datetimeFigureOut">
              <a:rPr lang="ko-KR" altLang="en-US" smtClean="0"/>
              <a:t>2020-06-25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CD241A-E748-4EE4-8361-55D61F9DB28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139236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직사각형 9"/>
          <p:cNvSpPr/>
          <p:nvPr/>
        </p:nvSpPr>
        <p:spPr>
          <a:xfrm>
            <a:off x="266831" y="260648"/>
            <a:ext cx="11658337" cy="6336704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4612759"/>
              </p:ext>
            </p:ext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그룹 2"/>
          <p:cNvGrpSpPr/>
          <p:nvPr/>
        </p:nvGrpSpPr>
        <p:grpSpPr>
          <a:xfrm>
            <a:off x="191344" y="1412776"/>
            <a:ext cx="10945216" cy="2880320"/>
            <a:chOff x="179512" y="2315571"/>
            <a:chExt cx="7414824" cy="1502011"/>
          </a:xfrm>
        </p:grpSpPr>
        <p:sp>
          <p:nvSpPr>
            <p:cNvPr id="4" name="자유형: 도형 14">
              <a:extLst>
                <a:ext uri="{FF2B5EF4-FFF2-40B4-BE49-F238E27FC236}">
                  <a16:creationId xmlns:a16="http://schemas.microsoft.com/office/drawing/2014/main" id="{59A228C9-C3D8-4DA6-B8EF-C7DB980AF52C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>
              <a:off x="179512" y="2315571"/>
              <a:ext cx="7395876" cy="1469365"/>
            </a:xfrm>
            <a:custGeom>
              <a:avLst/>
              <a:gdLst>
                <a:gd name="connsiteX0" fmla="*/ 0 w 10341204"/>
                <a:gd name="connsiteY0" fmla="*/ 0 h 1923068"/>
                <a:gd name="connsiteX1" fmla="*/ 10341204 w 10341204"/>
                <a:gd name="connsiteY1" fmla="*/ 0 h 1923068"/>
                <a:gd name="connsiteX2" fmla="*/ 10341204 w 10341204"/>
                <a:gd name="connsiteY2" fmla="*/ 980387 h 1923068"/>
                <a:gd name="connsiteX3" fmla="*/ 9379672 w 10341204"/>
                <a:gd name="connsiteY3" fmla="*/ 1923068 h 1923068"/>
                <a:gd name="connsiteX4" fmla="*/ 0 w 10341204"/>
                <a:gd name="connsiteY4" fmla="*/ 1923068 h 1923068"/>
                <a:gd name="connsiteX5" fmla="*/ 0 w 10341204"/>
                <a:gd name="connsiteY5" fmla="*/ 0 h 1923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41204" h="1923068">
                  <a:moveTo>
                    <a:pt x="0" y="0"/>
                  </a:moveTo>
                  <a:lnTo>
                    <a:pt x="10341204" y="0"/>
                  </a:lnTo>
                  <a:lnTo>
                    <a:pt x="10341204" y="980387"/>
                  </a:lnTo>
                  <a:lnTo>
                    <a:pt x="9379672" y="1923068"/>
                  </a:lnTo>
                  <a:lnTo>
                    <a:pt x="0" y="192306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ffectLst>
              <a:outerShdw blurRad="1143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6" name="직각 삼각형 5">
              <a:extLst>
                <a:ext uri="{FF2B5EF4-FFF2-40B4-BE49-F238E27FC236}">
                  <a16:creationId xmlns:a16="http://schemas.microsoft.com/office/drawing/2014/main" id="{25C35255-DB13-49A7-9E88-0F3405C7F8F6}"/>
                </a:ext>
              </a:extLst>
            </p:cNvPr>
            <p:cNvSpPr/>
            <p:nvPr/>
          </p:nvSpPr>
          <p:spPr>
            <a:xfrm rot="16200000">
              <a:off x="6945866" y="3169111"/>
              <a:ext cx="650870" cy="646071"/>
            </a:xfrm>
            <a:prstGeom prst="rtTriangle">
              <a:avLst/>
            </a:prstGeom>
            <a:solidFill>
              <a:srgbClr val="A8141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</p:grpSp>
      <p:sp>
        <p:nvSpPr>
          <p:cNvPr id="9" name="제목 1"/>
          <p:cNvSpPr txBox="1">
            <a:spLocks/>
          </p:cNvSpPr>
          <p:nvPr/>
        </p:nvSpPr>
        <p:spPr>
          <a:xfrm>
            <a:off x="479376" y="2112937"/>
            <a:ext cx="9981756" cy="1864043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/>
            <a:r>
              <a:rPr lang="ko-KR" altLang="en-US" dirty="0" smtClean="0">
                <a:solidFill>
                  <a:schemeClr val="bg1"/>
                </a:solidFill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게임 플레이어의 점수에 따른 </a:t>
            </a:r>
            <a:r>
              <a:rPr lang="ko-KR" altLang="en-US" dirty="0" err="1" smtClean="0">
                <a:solidFill>
                  <a:schemeClr val="bg1"/>
                </a:solidFill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순위구간</a:t>
            </a:r>
            <a:r>
              <a:rPr lang="ko-KR" altLang="en-US" dirty="0" smtClean="0">
                <a:solidFill>
                  <a:schemeClr val="bg1"/>
                </a:solidFill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 계산</a:t>
            </a:r>
            <a:endParaRPr lang="en-US" altLang="ko-KR" dirty="0" smtClean="0">
              <a:solidFill>
                <a:schemeClr val="bg1"/>
              </a:solidFill>
              <a:latin typeface="12롯데마트드림Medium" panose="02020603020101020101" pitchFamily="18" charset="-127"/>
              <a:ea typeface="12롯데마트드림Medium" panose="02020603020101020101" pitchFamily="18" charset="-127"/>
            </a:endParaRPr>
          </a:p>
          <a:p>
            <a:pPr fontAlgn="base"/>
            <a:r>
              <a:rPr lang="en-US" altLang="ko-KR" sz="2000" dirty="0">
                <a:solidFill>
                  <a:schemeClr val="bg1"/>
                </a:solidFill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 </a:t>
            </a:r>
            <a:r>
              <a:rPr lang="ko-KR" altLang="en-US" dirty="0">
                <a:solidFill>
                  <a:schemeClr val="bg1"/>
                </a:solidFill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/>
            </a:r>
            <a:br>
              <a:rPr lang="ko-KR" altLang="en-US" dirty="0">
                <a:solidFill>
                  <a:schemeClr val="bg1"/>
                </a:solidFill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</a:br>
            <a:r>
              <a:rPr lang="en-US" altLang="ko-KR" sz="2900" dirty="0" smtClean="0">
                <a:solidFill>
                  <a:schemeClr val="bg1"/>
                </a:solidFill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-</a:t>
            </a:r>
            <a:r>
              <a:rPr lang="ko-KR" altLang="en-US" sz="2900" dirty="0" smtClean="0">
                <a:solidFill>
                  <a:schemeClr val="bg1"/>
                </a:solidFill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무결성과 시간 효율성을 </a:t>
            </a:r>
            <a:r>
              <a:rPr lang="ko-KR" altLang="en-US" sz="2900" dirty="0">
                <a:solidFill>
                  <a:schemeClr val="bg1"/>
                </a:solidFill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충족하는 </a:t>
            </a:r>
            <a:r>
              <a:rPr lang="ko-KR" altLang="en-US" sz="2900" dirty="0" smtClean="0">
                <a:solidFill>
                  <a:schemeClr val="bg1"/>
                </a:solidFill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정렬 알고리즘 </a:t>
            </a:r>
            <a:r>
              <a:rPr lang="ko-KR" altLang="en-US" sz="2900" dirty="0">
                <a:solidFill>
                  <a:schemeClr val="bg1"/>
                </a:solidFill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구현</a:t>
            </a:r>
            <a:r>
              <a:rPr lang="en-US" altLang="ko-KR" sz="2900" dirty="0">
                <a:solidFill>
                  <a:schemeClr val="bg1"/>
                </a:solidFill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-</a:t>
            </a:r>
            <a:endParaRPr lang="ko-KR" altLang="en-US" sz="2900" dirty="0">
              <a:solidFill>
                <a:schemeClr val="bg1"/>
              </a:solidFill>
              <a:latin typeface="12롯데마트드림Medium" panose="02020603020101020101" pitchFamily="18" charset="-127"/>
              <a:ea typeface="12롯데마트드림Medium" panose="02020603020101020101" pitchFamily="18" charset="-127"/>
            </a:endParaRPr>
          </a:p>
        </p:txBody>
      </p:sp>
      <p:sp>
        <p:nvSpPr>
          <p:cNvPr id="19" name="제목 1"/>
          <p:cNvSpPr txBox="1">
            <a:spLocks/>
          </p:cNvSpPr>
          <p:nvPr/>
        </p:nvSpPr>
        <p:spPr>
          <a:xfrm>
            <a:off x="7536160" y="5373216"/>
            <a:ext cx="4104456" cy="846100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/>
            <a:r>
              <a:rPr lang="ko-KR" altLang="en-US" sz="24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교육학과</a:t>
            </a:r>
            <a:r>
              <a:rPr lang="en-US" altLang="ko-KR" sz="24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/</a:t>
            </a:r>
            <a:r>
              <a:rPr lang="ko-KR" altLang="en-US" sz="24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융합소프트웨어전공</a:t>
            </a:r>
            <a:endParaRPr lang="en-US" altLang="ko-KR" sz="2400" dirty="0" smtClean="0">
              <a:latin typeface="12롯데마트드림Medium" panose="02020603020101020101" pitchFamily="18" charset="-127"/>
              <a:ea typeface="12롯데마트드림Medium" panose="02020603020101020101" pitchFamily="18" charset="-127"/>
            </a:endParaRPr>
          </a:p>
          <a:p>
            <a:pPr fontAlgn="base"/>
            <a:r>
              <a:rPr lang="en-US" altLang="ko-KR" sz="24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2017112676 </a:t>
            </a:r>
            <a:r>
              <a:rPr lang="ko-KR" altLang="en-US" sz="2400" dirty="0" err="1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노주희</a:t>
            </a:r>
            <a:endParaRPr lang="ko-KR" altLang="en-US" sz="2400" dirty="0">
              <a:latin typeface="12롯데마트드림Medium" panose="02020603020101020101" pitchFamily="18" charset="-127"/>
              <a:ea typeface="12롯데마트드림Mediu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35352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직사각형 14"/>
          <p:cNvSpPr/>
          <p:nvPr/>
        </p:nvSpPr>
        <p:spPr>
          <a:xfrm>
            <a:off x="266831" y="260648"/>
            <a:ext cx="11658337" cy="6336704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사각형: 둥근 모서리 5">
            <a:extLst>
              <a:ext uri="{FF2B5EF4-FFF2-40B4-BE49-F238E27FC236}">
                <a16:creationId xmlns:a16="http://schemas.microsoft.com/office/drawing/2014/main" id="{AF2E363F-20BC-436E-9A7E-C4ED80984A4A}"/>
              </a:ext>
            </a:extLst>
          </p:cNvPr>
          <p:cNvSpPr/>
          <p:nvPr/>
        </p:nvSpPr>
        <p:spPr>
          <a:xfrm>
            <a:off x="8904312" y="428647"/>
            <a:ext cx="1125545" cy="476759"/>
          </a:xfrm>
          <a:custGeom>
            <a:avLst/>
            <a:gdLst>
              <a:gd name="connsiteX0" fmla="*/ 0 w 1432874"/>
              <a:gd name="connsiteY0" fmla="*/ 105032 h 630180"/>
              <a:gd name="connsiteX1" fmla="*/ 105032 w 1432874"/>
              <a:gd name="connsiteY1" fmla="*/ 0 h 630180"/>
              <a:gd name="connsiteX2" fmla="*/ 1327842 w 1432874"/>
              <a:gd name="connsiteY2" fmla="*/ 0 h 630180"/>
              <a:gd name="connsiteX3" fmla="*/ 1432874 w 1432874"/>
              <a:gd name="connsiteY3" fmla="*/ 105032 h 630180"/>
              <a:gd name="connsiteX4" fmla="*/ 1432874 w 1432874"/>
              <a:gd name="connsiteY4" fmla="*/ 525148 h 630180"/>
              <a:gd name="connsiteX5" fmla="*/ 1327842 w 1432874"/>
              <a:gd name="connsiteY5" fmla="*/ 630180 h 630180"/>
              <a:gd name="connsiteX6" fmla="*/ 105032 w 1432874"/>
              <a:gd name="connsiteY6" fmla="*/ 630180 h 630180"/>
              <a:gd name="connsiteX7" fmla="*/ 0 w 1432874"/>
              <a:gd name="connsiteY7" fmla="*/ 525148 h 630180"/>
              <a:gd name="connsiteX8" fmla="*/ 0 w 1432874"/>
              <a:gd name="connsiteY8" fmla="*/ 105032 h 630180"/>
              <a:gd name="connsiteX0" fmla="*/ 0 w 1432874"/>
              <a:gd name="connsiteY0" fmla="*/ 105032 h 630763"/>
              <a:gd name="connsiteX1" fmla="*/ 105032 w 1432874"/>
              <a:gd name="connsiteY1" fmla="*/ 0 h 630763"/>
              <a:gd name="connsiteX2" fmla="*/ 1327842 w 1432874"/>
              <a:gd name="connsiteY2" fmla="*/ 0 h 630763"/>
              <a:gd name="connsiteX3" fmla="*/ 1432874 w 1432874"/>
              <a:gd name="connsiteY3" fmla="*/ 105032 h 630763"/>
              <a:gd name="connsiteX4" fmla="*/ 1432874 w 1432874"/>
              <a:gd name="connsiteY4" fmla="*/ 525148 h 630763"/>
              <a:gd name="connsiteX5" fmla="*/ 1327842 w 1432874"/>
              <a:gd name="connsiteY5" fmla="*/ 630180 h 630763"/>
              <a:gd name="connsiteX6" fmla="*/ 105032 w 1432874"/>
              <a:gd name="connsiteY6" fmla="*/ 630180 h 630763"/>
              <a:gd name="connsiteX7" fmla="*/ 0 w 1432874"/>
              <a:gd name="connsiteY7" fmla="*/ 581709 h 630763"/>
              <a:gd name="connsiteX8" fmla="*/ 0 w 1432874"/>
              <a:gd name="connsiteY8" fmla="*/ 105032 h 630763"/>
              <a:gd name="connsiteX0" fmla="*/ 0 w 1432874"/>
              <a:gd name="connsiteY0" fmla="*/ 105032 h 642292"/>
              <a:gd name="connsiteX1" fmla="*/ 105032 w 1432874"/>
              <a:gd name="connsiteY1" fmla="*/ 0 h 642292"/>
              <a:gd name="connsiteX2" fmla="*/ 1327842 w 1432874"/>
              <a:gd name="connsiteY2" fmla="*/ 0 h 642292"/>
              <a:gd name="connsiteX3" fmla="*/ 1432874 w 1432874"/>
              <a:gd name="connsiteY3" fmla="*/ 105032 h 642292"/>
              <a:gd name="connsiteX4" fmla="*/ 1432874 w 1432874"/>
              <a:gd name="connsiteY4" fmla="*/ 609989 h 642292"/>
              <a:gd name="connsiteX5" fmla="*/ 1327842 w 1432874"/>
              <a:gd name="connsiteY5" fmla="*/ 630180 h 642292"/>
              <a:gd name="connsiteX6" fmla="*/ 105032 w 1432874"/>
              <a:gd name="connsiteY6" fmla="*/ 630180 h 642292"/>
              <a:gd name="connsiteX7" fmla="*/ 0 w 1432874"/>
              <a:gd name="connsiteY7" fmla="*/ 581709 h 642292"/>
              <a:gd name="connsiteX8" fmla="*/ 0 w 1432874"/>
              <a:gd name="connsiteY8" fmla="*/ 105032 h 6422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32874" h="642292">
                <a:moveTo>
                  <a:pt x="0" y="105032"/>
                </a:moveTo>
                <a:cubicBezTo>
                  <a:pt x="0" y="47024"/>
                  <a:pt x="47024" y="0"/>
                  <a:pt x="105032" y="0"/>
                </a:cubicBezTo>
                <a:lnTo>
                  <a:pt x="1327842" y="0"/>
                </a:lnTo>
                <a:cubicBezTo>
                  <a:pt x="1385850" y="0"/>
                  <a:pt x="1432874" y="47024"/>
                  <a:pt x="1432874" y="105032"/>
                </a:cubicBezTo>
                <a:lnTo>
                  <a:pt x="1432874" y="609989"/>
                </a:lnTo>
                <a:cubicBezTo>
                  <a:pt x="1432874" y="667997"/>
                  <a:pt x="1385850" y="630180"/>
                  <a:pt x="1327842" y="630180"/>
                </a:cubicBezTo>
                <a:lnTo>
                  <a:pt x="105032" y="630180"/>
                </a:lnTo>
                <a:cubicBezTo>
                  <a:pt x="47024" y="630180"/>
                  <a:pt x="0" y="639717"/>
                  <a:pt x="0" y="581709"/>
                </a:cubicBezTo>
                <a:lnTo>
                  <a:pt x="0" y="10503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DB16BA56-10B6-44A3-8D21-A352905D37A4}"/>
              </a:ext>
            </a:extLst>
          </p:cNvPr>
          <p:cNvSpPr/>
          <p:nvPr/>
        </p:nvSpPr>
        <p:spPr>
          <a:xfrm>
            <a:off x="266830" y="892406"/>
            <a:ext cx="11658337" cy="667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1107A4B-4BB7-4A52-838C-6AF7471A690E}"/>
              </a:ext>
            </a:extLst>
          </p:cNvPr>
          <p:cNvSpPr txBox="1"/>
          <p:nvPr/>
        </p:nvSpPr>
        <p:spPr>
          <a:xfrm>
            <a:off x="623392" y="1196752"/>
            <a:ext cx="286328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400" dirty="0" smtClean="0">
                <a:latin typeface="나눔스퀘어라운드 Bold" pitchFamily="50" charset="-127"/>
                <a:ea typeface="나눔스퀘어라운드 Bold" pitchFamily="50" charset="-127"/>
              </a:rPr>
              <a:t>알고리즘의 시간 효율</a:t>
            </a:r>
            <a:endParaRPr lang="ko-KR" altLang="en-US" sz="2400" dirty="0"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00DB5B6-C5B5-44A3-B302-24026388148B}"/>
              </a:ext>
            </a:extLst>
          </p:cNvPr>
          <p:cNvSpPr txBox="1"/>
          <p:nvPr/>
        </p:nvSpPr>
        <p:spPr>
          <a:xfrm>
            <a:off x="5665434" y="482360"/>
            <a:ext cx="8034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smtClean="0">
                <a:solidFill>
                  <a:schemeClr val="bg1">
                    <a:lumMod val="7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코드</a:t>
            </a:r>
            <a:r>
              <a:rPr lang="en-US" altLang="ko-KR" dirty="0">
                <a:solidFill>
                  <a:schemeClr val="bg1">
                    <a:lumMod val="7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 </a:t>
            </a:r>
            <a:r>
              <a:rPr lang="en-US" altLang="ko-KR" dirty="0" smtClean="0">
                <a:solidFill>
                  <a:schemeClr val="bg1">
                    <a:lumMod val="7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1</a:t>
            </a:r>
            <a:endParaRPr lang="ko-KR" altLang="en-US" dirty="0">
              <a:solidFill>
                <a:schemeClr val="bg1">
                  <a:lumMod val="75000"/>
                </a:schemeClr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A63D2C7-D237-4D03-93FC-181A62B8AB20}"/>
              </a:ext>
            </a:extLst>
          </p:cNvPr>
          <p:cNvSpPr txBox="1"/>
          <p:nvPr/>
        </p:nvSpPr>
        <p:spPr>
          <a:xfrm>
            <a:off x="6760327" y="482360"/>
            <a:ext cx="8034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smtClean="0">
                <a:solidFill>
                  <a:schemeClr val="bg1">
                    <a:lumMod val="7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코드</a:t>
            </a:r>
            <a:r>
              <a:rPr lang="en-US" altLang="ko-KR" dirty="0">
                <a:solidFill>
                  <a:schemeClr val="bg1">
                    <a:lumMod val="7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 </a:t>
            </a:r>
            <a:r>
              <a:rPr lang="en-US" altLang="ko-KR" dirty="0" smtClean="0">
                <a:solidFill>
                  <a:schemeClr val="bg1">
                    <a:lumMod val="7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2</a:t>
            </a:r>
            <a:endParaRPr lang="ko-KR" altLang="en-US" dirty="0">
              <a:solidFill>
                <a:schemeClr val="bg1">
                  <a:lumMod val="75000"/>
                </a:schemeClr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FC7FBA5-4B58-410D-915A-64CEC33921CB}"/>
              </a:ext>
            </a:extLst>
          </p:cNvPr>
          <p:cNvSpPr txBox="1"/>
          <p:nvPr/>
        </p:nvSpPr>
        <p:spPr>
          <a:xfrm>
            <a:off x="7855220" y="482360"/>
            <a:ext cx="8146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smtClean="0">
                <a:solidFill>
                  <a:schemeClr val="bg1">
                    <a:lumMod val="7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무결성</a:t>
            </a:r>
            <a:endParaRPr lang="ko-KR" altLang="en-US" dirty="0">
              <a:solidFill>
                <a:schemeClr val="bg1">
                  <a:lumMod val="75000"/>
                </a:schemeClr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7078" b="27668"/>
          <a:stretch/>
        </p:blipFill>
        <p:spPr>
          <a:xfrm>
            <a:off x="456436" y="2060848"/>
            <a:ext cx="5580620" cy="3631328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0BA0ABCF-FD1D-4D14-A862-20A7E806931B}"/>
              </a:ext>
            </a:extLst>
          </p:cNvPr>
          <p:cNvSpPr txBox="1"/>
          <p:nvPr/>
        </p:nvSpPr>
        <p:spPr>
          <a:xfrm>
            <a:off x="8950112" y="482360"/>
            <a:ext cx="10246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err="1" smtClean="0">
                <a:solidFill>
                  <a:schemeClr val="bg1"/>
                </a:solidFill>
                <a:latin typeface="나눔스퀘어라운드 Bold" pitchFamily="50" charset="-127"/>
                <a:ea typeface="나눔스퀘어라운드 Bold" pitchFamily="50" charset="-127"/>
              </a:rPr>
              <a:t>시간효율</a:t>
            </a:r>
            <a:endParaRPr lang="ko-KR" altLang="en-US" dirty="0">
              <a:solidFill>
                <a:schemeClr val="bg1"/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pic>
        <p:nvPicPr>
          <p:cNvPr id="6" name="그림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227" b="26875"/>
          <a:stretch/>
        </p:blipFill>
        <p:spPr>
          <a:xfrm>
            <a:off x="6147027" y="2060848"/>
            <a:ext cx="5668169" cy="3643263"/>
          </a:xfrm>
          <a:prstGeom prst="rect">
            <a:avLst/>
          </a:prstGeom>
        </p:spPr>
      </p:pic>
      <p:sp>
        <p:nvSpPr>
          <p:cNvPr id="5" name="직사각형 4"/>
          <p:cNvSpPr/>
          <p:nvPr/>
        </p:nvSpPr>
        <p:spPr>
          <a:xfrm>
            <a:off x="479376" y="4221088"/>
            <a:ext cx="1152128" cy="144016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직사각형 21"/>
          <p:cNvSpPr/>
          <p:nvPr/>
        </p:nvSpPr>
        <p:spPr>
          <a:xfrm>
            <a:off x="6096001" y="3212976"/>
            <a:ext cx="1152128" cy="161583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07846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직사각형 14"/>
          <p:cNvSpPr/>
          <p:nvPr/>
        </p:nvSpPr>
        <p:spPr>
          <a:xfrm>
            <a:off x="266831" y="260648"/>
            <a:ext cx="11658337" cy="6336704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사각형: 둥근 모서리 5">
            <a:extLst>
              <a:ext uri="{FF2B5EF4-FFF2-40B4-BE49-F238E27FC236}">
                <a16:creationId xmlns:a16="http://schemas.microsoft.com/office/drawing/2014/main" id="{AF2E363F-20BC-436E-9A7E-C4ED80984A4A}"/>
              </a:ext>
            </a:extLst>
          </p:cNvPr>
          <p:cNvSpPr/>
          <p:nvPr/>
        </p:nvSpPr>
        <p:spPr>
          <a:xfrm>
            <a:off x="8904312" y="428647"/>
            <a:ext cx="1125545" cy="476759"/>
          </a:xfrm>
          <a:custGeom>
            <a:avLst/>
            <a:gdLst>
              <a:gd name="connsiteX0" fmla="*/ 0 w 1432874"/>
              <a:gd name="connsiteY0" fmla="*/ 105032 h 630180"/>
              <a:gd name="connsiteX1" fmla="*/ 105032 w 1432874"/>
              <a:gd name="connsiteY1" fmla="*/ 0 h 630180"/>
              <a:gd name="connsiteX2" fmla="*/ 1327842 w 1432874"/>
              <a:gd name="connsiteY2" fmla="*/ 0 h 630180"/>
              <a:gd name="connsiteX3" fmla="*/ 1432874 w 1432874"/>
              <a:gd name="connsiteY3" fmla="*/ 105032 h 630180"/>
              <a:gd name="connsiteX4" fmla="*/ 1432874 w 1432874"/>
              <a:gd name="connsiteY4" fmla="*/ 525148 h 630180"/>
              <a:gd name="connsiteX5" fmla="*/ 1327842 w 1432874"/>
              <a:gd name="connsiteY5" fmla="*/ 630180 h 630180"/>
              <a:gd name="connsiteX6" fmla="*/ 105032 w 1432874"/>
              <a:gd name="connsiteY6" fmla="*/ 630180 h 630180"/>
              <a:gd name="connsiteX7" fmla="*/ 0 w 1432874"/>
              <a:gd name="connsiteY7" fmla="*/ 525148 h 630180"/>
              <a:gd name="connsiteX8" fmla="*/ 0 w 1432874"/>
              <a:gd name="connsiteY8" fmla="*/ 105032 h 630180"/>
              <a:gd name="connsiteX0" fmla="*/ 0 w 1432874"/>
              <a:gd name="connsiteY0" fmla="*/ 105032 h 630763"/>
              <a:gd name="connsiteX1" fmla="*/ 105032 w 1432874"/>
              <a:gd name="connsiteY1" fmla="*/ 0 h 630763"/>
              <a:gd name="connsiteX2" fmla="*/ 1327842 w 1432874"/>
              <a:gd name="connsiteY2" fmla="*/ 0 h 630763"/>
              <a:gd name="connsiteX3" fmla="*/ 1432874 w 1432874"/>
              <a:gd name="connsiteY3" fmla="*/ 105032 h 630763"/>
              <a:gd name="connsiteX4" fmla="*/ 1432874 w 1432874"/>
              <a:gd name="connsiteY4" fmla="*/ 525148 h 630763"/>
              <a:gd name="connsiteX5" fmla="*/ 1327842 w 1432874"/>
              <a:gd name="connsiteY5" fmla="*/ 630180 h 630763"/>
              <a:gd name="connsiteX6" fmla="*/ 105032 w 1432874"/>
              <a:gd name="connsiteY6" fmla="*/ 630180 h 630763"/>
              <a:gd name="connsiteX7" fmla="*/ 0 w 1432874"/>
              <a:gd name="connsiteY7" fmla="*/ 581709 h 630763"/>
              <a:gd name="connsiteX8" fmla="*/ 0 w 1432874"/>
              <a:gd name="connsiteY8" fmla="*/ 105032 h 630763"/>
              <a:gd name="connsiteX0" fmla="*/ 0 w 1432874"/>
              <a:gd name="connsiteY0" fmla="*/ 105032 h 642292"/>
              <a:gd name="connsiteX1" fmla="*/ 105032 w 1432874"/>
              <a:gd name="connsiteY1" fmla="*/ 0 h 642292"/>
              <a:gd name="connsiteX2" fmla="*/ 1327842 w 1432874"/>
              <a:gd name="connsiteY2" fmla="*/ 0 h 642292"/>
              <a:gd name="connsiteX3" fmla="*/ 1432874 w 1432874"/>
              <a:gd name="connsiteY3" fmla="*/ 105032 h 642292"/>
              <a:gd name="connsiteX4" fmla="*/ 1432874 w 1432874"/>
              <a:gd name="connsiteY4" fmla="*/ 609989 h 642292"/>
              <a:gd name="connsiteX5" fmla="*/ 1327842 w 1432874"/>
              <a:gd name="connsiteY5" fmla="*/ 630180 h 642292"/>
              <a:gd name="connsiteX6" fmla="*/ 105032 w 1432874"/>
              <a:gd name="connsiteY6" fmla="*/ 630180 h 642292"/>
              <a:gd name="connsiteX7" fmla="*/ 0 w 1432874"/>
              <a:gd name="connsiteY7" fmla="*/ 581709 h 642292"/>
              <a:gd name="connsiteX8" fmla="*/ 0 w 1432874"/>
              <a:gd name="connsiteY8" fmla="*/ 105032 h 6422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32874" h="642292">
                <a:moveTo>
                  <a:pt x="0" y="105032"/>
                </a:moveTo>
                <a:cubicBezTo>
                  <a:pt x="0" y="47024"/>
                  <a:pt x="47024" y="0"/>
                  <a:pt x="105032" y="0"/>
                </a:cubicBezTo>
                <a:lnTo>
                  <a:pt x="1327842" y="0"/>
                </a:lnTo>
                <a:cubicBezTo>
                  <a:pt x="1385850" y="0"/>
                  <a:pt x="1432874" y="47024"/>
                  <a:pt x="1432874" y="105032"/>
                </a:cubicBezTo>
                <a:lnTo>
                  <a:pt x="1432874" y="609989"/>
                </a:lnTo>
                <a:cubicBezTo>
                  <a:pt x="1432874" y="667997"/>
                  <a:pt x="1385850" y="630180"/>
                  <a:pt x="1327842" y="630180"/>
                </a:cubicBezTo>
                <a:lnTo>
                  <a:pt x="105032" y="630180"/>
                </a:lnTo>
                <a:cubicBezTo>
                  <a:pt x="47024" y="630180"/>
                  <a:pt x="0" y="639717"/>
                  <a:pt x="0" y="581709"/>
                </a:cubicBezTo>
                <a:lnTo>
                  <a:pt x="0" y="10503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DB16BA56-10B6-44A3-8D21-A352905D37A4}"/>
              </a:ext>
            </a:extLst>
          </p:cNvPr>
          <p:cNvSpPr/>
          <p:nvPr/>
        </p:nvSpPr>
        <p:spPr>
          <a:xfrm>
            <a:off x="266830" y="892406"/>
            <a:ext cx="11658337" cy="667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1107A4B-4BB7-4A52-838C-6AF7471A690E}"/>
              </a:ext>
            </a:extLst>
          </p:cNvPr>
          <p:cNvSpPr txBox="1"/>
          <p:nvPr/>
        </p:nvSpPr>
        <p:spPr>
          <a:xfrm>
            <a:off x="623392" y="1196752"/>
            <a:ext cx="286328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400" dirty="0" smtClean="0">
                <a:latin typeface="나눔스퀘어라운드 Bold" pitchFamily="50" charset="-127"/>
                <a:ea typeface="나눔스퀘어라운드 Bold" pitchFamily="50" charset="-127"/>
              </a:rPr>
              <a:t>알고리즘의 시간 효율</a:t>
            </a:r>
            <a:endParaRPr lang="ko-KR" altLang="en-US" sz="2400" dirty="0"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00DB5B6-C5B5-44A3-B302-24026388148B}"/>
              </a:ext>
            </a:extLst>
          </p:cNvPr>
          <p:cNvSpPr txBox="1"/>
          <p:nvPr/>
        </p:nvSpPr>
        <p:spPr>
          <a:xfrm>
            <a:off x="5665434" y="482360"/>
            <a:ext cx="8034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smtClean="0">
                <a:solidFill>
                  <a:schemeClr val="bg1">
                    <a:lumMod val="7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코드</a:t>
            </a:r>
            <a:r>
              <a:rPr lang="en-US" altLang="ko-KR" dirty="0">
                <a:solidFill>
                  <a:schemeClr val="bg1">
                    <a:lumMod val="7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 </a:t>
            </a:r>
            <a:r>
              <a:rPr lang="en-US" altLang="ko-KR" dirty="0" smtClean="0">
                <a:solidFill>
                  <a:schemeClr val="bg1">
                    <a:lumMod val="7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1</a:t>
            </a:r>
            <a:endParaRPr lang="ko-KR" altLang="en-US" dirty="0">
              <a:solidFill>
                <a:schemeClr val="bg1">
                  <a:lumMod val="75000"/>
                </a:schemeClr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A63D2C7-D237-4D03-93FC-181A62B8AB20}"/>
              </a:ext>
            </a:extLst>
          </p:cNvPr>
          <p:cNvSpPr txBox="1"/>
          <p:nvPr/>
        </p:nvSpPr>
        <p:spPr>
          <a:xfrm>
            <a:off x="6760327" y="482360"/>
            <a:ext cx="8034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smtClean="0">
                <a:solidFill>
                  <a:schemeClr val="bg1">
                    <a:lumMod val="7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코드</a:t>
            </a:r>
            <a:r>
              <a:rPr lang="en-US" altLang="ko-KR" dirty="0">
                <a:solidFill>
                  <a:schemeClr val="bg1">
                    <a:lumMod val="7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 </a:t>
            </a:r>
            <a:r>
              <a:rPr lang="en-US" altLang="ko-KR" dirty="0" smtClean="0">
                <a:solidFill>
                  <a:schemeClr val="bg1">
                    <a:lumMod val="7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2</a:t>
            </a:r>
            <a:endParaRPr lang="ko-KR" altLang="en-US" dirty="0">
              <a:solidFill>
                <a:schemeClr val="bg1">
                  <a:lumMod val="75000"/>
                </a:schemeClr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FC7FBA5-4B58-410D-915A-64CEC33921CB}"/>
              </a:ext>
            </a:extLst>
          </p:cNvPr>
          <p:cNvSpPr txBox="1"/>
          <p:nvPr/>
        </p:nvSpPr>
        <p:spPr>
          <a:xfrm>
            <a:off x="7855220" y="482360"/>
            <a:ext cx="8146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smtClean="0">
                <a:solidFill>
                  <a:schemeClr val="bg1">
                    <a:lumMod val="7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무결성</a:t>
            </a:r>
            <a:endParaRPr lang="ko-KR" altLang="en-US" dirty="0">
              <a:solidFill>
                <a:schemeClr val="bg1">
                  <a:lumMod val="75000"/>
                </a:schemeClr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BA0ABCF-FD1D-4D14-A862-20A7E806931B}"/>
              </a:ext>
            </a:extLst>
          </p:cNvPr>
          <p:cNvSpPr txBox="1"/>
          <p:nvPr/>
        </p:nvSpPr>
        <p:spPr>
          <a:xfrm>
            <a:off x="8950112" y="482360"/>
            <a:ext cx="10246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err="1" smtClean="0">
                <a:solidFill>
                  <a:schemeClr val="bg1"/>
                </a:solidFill>
                <a:latin typeface="나눔스퀘어라운드 Bold" pitchFamily="50" charset="-127"/>
                <a:ea typeface="나눔스퀘어라운드 Bold" pitchFamily="50" charset="-127"/>
              </a:rPr>
              <a:t>시간효율</a:t>
            </a:r>
            <a:endParaRPr lang="ko-KR" altLang="en-US" dirty="0">
              <a:solidFill>
                <a:schemeClr val="bg1"/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pic>
        <p:nvPicPr>
          <p:cNvPr id="14" name="그림 1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006"/>
          <a:stretch/>
        </p:blipFill>
        <p:spPr>
          <a:xfrm>
            <a:off x="6564052" y="1783662"/>
            <a:ext cx="4680520" cy="3181794"/>
          </a:xfrm>
          <a:prstGeom prst="rect">
            <a:avLst/>
          </a:prstGeom>
        </p:spPr>
      </p:pic>
      <p:pic>
        <p:nvPicPr>
          <p:cNvPr id="16" name="그림 1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686"/>
          <a:stretch/>
        </p:blipFill>
        <p:spPr>
          <a:xfrm>
            <a:off x="767407" y="2111737"/>
            <a:ext cx="4464496" cy="1600423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1294981" y="4411458"/>
            <a:ext cx="340934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5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평균값 계산 </a:t>
            </a:r>
            <a:r>
              <a:rPr lang="en-US" altLang="ko-KR" sz="15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O(1)</a:t>
            </a:r>
          </a:p>
          <a:p>
            <a:pPr algn="ctr"/>
            <a:r>
              <a:rPr lang="ko-KR" altLang="en-US" sz="1500" dirty="0" err="1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퀵정렬</a:t>
            </a:r>
            <a:r>
              <a:rPr lang="ko-KR" altLang="en-US" sz="15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 </a:t>
            </a:r>
            <a:r>
              <a:rPr lang="en-US" altLang="ko-KR" sz="15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O(</a:t>
            </a:r>
            <a:r>
              <a:rPr lang="en-US" altLang="ko-KR" sz="1500" dirty="0" err="1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nlogn</a:t>
            </a:r>
            <a:r>
              <a:rPr lang="en-US" altLang="ko-KR" sz="15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) *2</a:t>
            </a:r>
            <a:endParaRPr lang="ko-KR" altLang="en-US" sz="1500" dirty="0">
              <a:latin typeface="12롯데마트드림Medium" panose="02020603020101020101" pitchFamily="18" charset="-127"/>
              <a:ea typeface="12롯데마트드림Medium" panose="02020603020101020101" pitchFamily="18" charset="-127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7464152" y="5397584"/>
            <a:ext cx="3409349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5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평균값 계산 </a:t>
            </a:r>
            <a:r>
              <a:rPr lang="en-US" altLang="ko-KR" sz="15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O(1)</a:t>
            </a:r>
          </a:p>
          <a:p>
            <a:pPr algn="ctr"/>
            <a:r>
              <a:rPr lang="ko-KR" altLang="en-US" sz="1500" dirty="0" err="1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퀵정렬</a:t>
            </a:r>
            <a:r>
              <a:rPr lang="ko-KR" altLang="en-US" sz="15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 </a:t>
            </a:r>
            <a:r>
              <a:rPr lang="en-US" altLang="ko-KR" sz="15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O(</a:t>
            </a:r>
            <a:r>
              <a:rPr lang="en-US" altLang="ko-KR" sz="1500" dirty="0" err="1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nlogn</a:t>
            </a:r>
            <a:r>
              <a:rPr lang="en-US" altLang="ko-KR" sz="15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) * 6</a:t>
            </a:r>
            <a:endParaRPr lang="en-US" altLang="ko-KR" sz="1500" dirty="0">
              <a:latin typeface="12롯데마트드림Medium" panose="02020603020101020101" pitchFamily="18" charset="-127"/>
              <a:ea typeface="12롯데마트드림Medium" panose="02020603020101020101" pitchFamily="18" charset="-127"/>
            </a:endParaRPr>
          </a:p>
          <a:p>
            <a:pPr algn="ctr"/>
            <a:r>
              <a:rPr lang="ko-KR" altLang="en-US" sz="1500" dirty="0" err="1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선택정렬</a:t>
            </a:r>
            <a:r>
              <a:rPr lang="ko-KR" altLang="en-US" sz="15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 </a:t>
            </a:r>
            <a:r>
              <a:rPr lang="en-US" altLang="ko-KR" sz="15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O(n)</a:t>
            </a:r>
          </a:p>
        </p:txBody>
      </p:sp>
    </p:spTree>
    <p:extLst>
      <p:ext uri="{BB962C8B-B14F-4D97-AF65-F5344CB8AC3E}">
        <p14:creationId xmlns:p14="http://schemas.microsoft.com/office/powerpoint/2010/main" val="706587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/>
          <p:cNvSpPr/>
          <p:nvPr/>
        </p:nvSpPr>
        <p:spPr>
          <a:xfrm>
            <a:off x="266831" y="260648"/>
            <a:ext cx="11658337" cy="6336704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TextBox 7"/>
          <p:cNvSpPr txBox="1"/>
          <p:nvPr/>
        </p:nvSpPr>
        <p:spPr>
          <a:xfrm>
            <a:off x="4932815" y="3369186"/>
            <a:ext cx="264527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4000">
                <a:latin typeface="나눔스퀘어라운드 ExtraBold" pitchFamily="50" charset="-127"/>
                <a:ea typeface="나눔스퀘어라운드 ExtraBold" pitchFamily="50" charset="-127"/>
              </a:rPr>
              <a:t>감사합니다</a:t>
            </a:r>
            <a:r>
              <a:rPr lang="en-US" altLang="ko-KR" sz="4000">
                <a:latin typeface="나눔스퀘어라운드 ExtraBold" pitchFamily="50" charset="-127"/>
                <a:ea typeface="나눔스퀘어라운드 ExtraBold" pitchFamily="50" charset="-127"/>
              </a:rPr>
              <a:t>.</a:t>
            </a:r>
            <a:endParaRPr lang="ko-KR" altLang="en-US" sz="4400" dirty="0">
              <a:latin typeface="나눔스퀘어라운드 ExtraBold" pitchFamily="50" charset="-127"/>
              <a:ea typeface="나눔스퀘어라운드 ExtraBold" pitchFamily="50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9590" y="2519788"/>
            <a:ext cx="751729" cy="751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41088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직사각형 6"/>
          <p:cNvSpPr/>
          <p:nvPr/>
        </p:nvSpPr>
        <p:spPr>
          <a:xfrm>
            <a:off x="266831" y="260648"/>
            <a:ext cx="11658337" cy="6336704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화살표: 오각형 13">
            <a:extLst>
              <a:ext uri="{FF2B5EF4-FFF2-40B4-BE49-F238E27FC236}">
                <a16:creationId xmlns:a16="http://schemas.microsoft.com/office/drawing/2014/main" id="{335B40CF-D692-43E6-BDB3-47752D78314E}"/>
              </a:ext>
            </a:extLst>
          </p:cNvPr>
          <p:cNvSpPr/>
          <p:nvPr/>
        </p:nvSpPr>
        <p:spPr>
          <a:xfrm rot="11055660">
            <a:off x="2511467" y="2938304"/>
            <a:ext cx="3533946" cy="561130"/>
          </a:xfrm>
          <a:custGeom>
            <a:avLst/>
            <a:gdLst>
              <a:gd name="connsiteX0" fmla="*/ 0 w 3352793"/>
              <a:gd name="connsiteY0" fmla="*/ 0 h 522514"/>
              <a:gd name="connsiteX1" fmla="*/ 3091536 w 3352793"/>
              <a:gd name="connsiteY1" fmla="*/ 0 h 522514"/>
              <a:gd name="connsiteX2" fmla="*/ 3352793 w 3352793"/>
              <a:gd name="connsiteY2" fmla="*/ 261257 h 522514"/>
              <a:gd name="connsiteX3" fmla="*/ 3091536 w 3352793"/>
              <a:gd name="connsiteY3" fmla="*/ 522514 h 522514"/>
              <a:gd name="connsiteX4" fmla="*/ 0 w 3352793"/>
              <a:gd name="connsiteY4" fmla="*/ 522514 h 522514"/>
              <a:gd name="connsiteX5" fmla="*/ 0 w 3352793"/>
              <a:gd name="connsiteY5" fmla="*/ 0 h 522514"/>
              <a:gd name="connsiteX0" fmla="*/ 66797 w 3419590"/>
              <a:gd name="connsiteY0" fmla="*/ 0 h 539189"/>
              <a:gd name="connsiteX1" fmla="*/ 3158333 w 3419590"/>
              <a:gd name="connsiteY1" fmla="*/ 0 h 539189"/>
              <a:gd name="connsiteX2" fmla="*/ 3419590 w 3419590"/>
              <a:gd name="connsiteY2" fmla="*/ 261257 h 539189"/>
              <a:gd name="connsiteX3" fmla="*/ 3158333 w 3419590"/>
              <a:gd name="connsiteY3" fmla="*/ 522514 h 539189"/>
              <a:gd name="connsiteX4" fmla="*/ 0 w 3419590"/>
              <a:gd name="connsiteY4" fmla="*/ 539189 h 539189"/>
              <a:gd name="connsiteX5" fmla="*/ 66797 w 3419590"/>
              <a:gd name="connsiteY5" fmla="*/ 0 h 539189"/>
              <a:gd name="connsiteX0" fmla="*/ 0 w 3533946"/>
              <a:gd name="connsiteY0" fmla="*/ 0 h 561130"/>
              <a:gd name="connsiteX1" fmla="*/ 3272689 w 3533946"/>
              <a:gd name="connsiteY1" fmla="*/ 21941 h 561130"/>
              <a:gd name="connsiteX2" fmla="*/ 3533946 w 3533946"/>
              <a:gd name="connsiteY2" fmla="*/ 283198 h 561130"/>
              <a:gd name="connsiteX3" fmla="*/ 3272689 w 3533946"/>
              <a:gd name="connsiteY3" fmla="*/ 544455 h 561130"/>
              <a:gd name="connsiteX4" fmla="*/ 114356 w 3533946"/>
              <a:gd name="connsiteY4" fmla="*/ 561130 h 561130"/>
              <a:gd name="connsiteX5" fmla="*/ 0 w 3533946"/>
              <a:gd name="connsiteY5" fmla="*/ 0 h 561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33946" h="561130">
                <a:moveTo>
                  <a:pt x="0" y="0"/>
                </a:moveTo>
                <a:lnTo>
                  <a:pt x="3272689" y="21941"/>
                </a:lnTo>
                <a:lnTo>
                  <a:pt x="3533946" y="283198"/>
                </a:lnTo>
                <a:lnTo>
                  <a:pt x="3272689" y="544455"/>
                </a:lnTo>
                <a:lnTo>
                  <a:pt x="114356" y="56113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5" name="화살표: 오각형 13">
            <a:extLst>
              <a:ext uri="{FF2B5EF4-FFF2-40B4-BE49-F238E27FC236}">
                <a16:creationId xmlns:a16="http://schemas.microsoft.com/office/drawing/2014/main" id="{9A837679-5191-4146-847C-3E6AAC2BA7F3}"/>
              </a:ext>
            </a:extLst>
          </p:cNvPr>
          <p:cNvSpPr/>
          <p:nvPr/>
        </p:nvSpPr>
        <p:spPr>
          <a:xfrm>
            <a:off x="6045996" y="2082644"/>
            <a:ext cx="3419590" cy="539189"/>
          </a:xfrm>
          <a:custGeom>
            <a:avLst/>
            <a:gdLst>
              <a:gd name="connsiteX0" fmla="*/ 0 w 3352793"/>
              <a:gd name="connsiteY0" fmla="*/ 0 h 522514"/>
              <a:gd name="connsiteX1" fmla="*/ 3091536 w 3352793"/>
              <a:gd name="connsiteY1" fmla="*/ 0 h 522514"/>
              <a:gd name="connsiteX2" fmla="*/ 3352793 w 3352793"/>
              <a:gd name="connsiteY2" fmla="*/ 261257 h 522514"/>
              <a:gd name="connsiteX3" fmla="*/ 3091536 w 3352793"/>
              <a:gd name="connsiteY3" fmla="*/ 522514 h 522514"/>
              <a:gd name="connsiteX4" fmla="*/ 0 w 3352793"/>
              <a:gd name="connsiteY4" fmla="*/ 522514 h 522514"/>
              <a:gd name="connsiteX5" fmla="*/ 0 w 3352793"/>
              <a:gd name="connsiteY5" fmla="*/ 0 h 522514"/>
              <a:gd name="connsiteX0" fmla="*/ 66797 w 3419590"/>
              <a:gd name="connsiteY0" fmla="*/ 0 h 539189"/>
              <a:gd name="connsiteX1" fmla="*/ 3158333 w 3419590"/>
              <a:gd name="connsiteY1" fmla="*/ 0 h 539189"/>
              <a:gd name="connsiteX2" fmla="*/ 3419590 w 3419590"/>
              <a:gd name="connsiteY2" fmla="*/ 261257 h 539189"/>
              <a:gd name="connsiteX3" fmla="*/ 3158333 w 3419590"/>
              <a:gd name="connsiteY3" fmla="*/ 522514 h 539189"/>
              <a:gd name="connsiteX4" fmla="*/ 0 w 3419590"/>
              <a:gd name="connsiteY4" fmla="*/ 539189 h 539189"/>
              <a:gd name="connsiteX5" fmla="*/ 66797 w 3419590"/>
              <a:gd name="connsiteY5" fmla="*/ 0 h 539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419590" h="539189">
                <a:moveTo>
                  <a:pt x="66797" y="0"/>
                </a:moveTo>
                <a:lnTo>
                  <a:pt x="3158333" y="0"/>
                </a:lnTo>
                <a:lnTo>
                  <a:pt x="3419590" y="261257"/>
                </a:lnTo>
                <a:lnTo>
                  <a:pt x="3158333" y="522514"/>
                </a:lnTo>
                <a:lnTo>
                  <a:pt x="0" y="539189"/>
                </a:lnTo>
                <a:lnTo>
                  <a:pt x="66797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cxnSp>
        <p:nvCxnSpPr>
          <p:cNvPr id="6" name="직선 연결선 5">
            <a:extLst>
              <a:ext uri="{FF2B5EF4-FFF2-40B4-BE49-F238E27FC236}">
                <a16:creationId xmlns:a16="http://schemas.microsoft.com/office/drawing/2014/main" id="{33407212-FFA2-4BAB-8B88-44A22E23E262}"/>
              </a:ext>
            </a:extLst>
          </p:cNvPr>
          <p:cNvCxnSpPr>
            <a:cxnSpLocks/>
          </p:cNvCxnSpPr>
          <p:nvPr/>
        </p:nvCxnSpPr>
        <p:spPr>
          <a:xfrm>
            <a:off x="6053037" y="1162125"/>
            <a:ext cx="1" cy="6083299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타원 8">
            <a:extLst>
              <a:ext uri="{FF2B5EF4-FFF2-40B4-BE49-F238E27FC236}">
                <a16:creationId xmlns:a16="http://schemas.microsoft.com/office/drawing/2014/main" id="{6A270B5A-DEF2-4BE8-90F1-4FC689909766}"/>
              </a:ext>
            </a:extLst>
          </p:cNvPr>
          <p:cNvSpPr/>
          <p:nvPr/>
        </p:nvSpPr>
        <p:spPr>
          <a:xfrm>
            <a:off x="5972996" y="446516"/>
            <a:ext cx="160082" cy="174172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10" name="화살표: 오각형 13">
            <a:extLst>
              <a:ext uri="{FF2B5EF4-FFF2-40B4-BE49-F238E27FC236}">
                <a16:creationId xmlns:a16="http://schemas.microsoft.com/office/drawing/2014/main" id="{93F85343-F9C8-4E03-BA6A-94DB4E81EBE1}"/>
              </a:ext>
            </a:extLst>
          </p:cNvPr>
          <p:cNvSpPr/>
          <p:nvPr/>
        </p:nvSpPr>
        <p:spPr>
          <a:xfrm rot="21221221">
            <a:off x="5992272" y="1896270"/>
            <a:ext cx="3419590" cy="539189"/>
          </a:xfrm>
          <a:custGeom>
            <a:avLst/>
            <a:gdLst>
              <a:gd name="connsiteX0" fmla="*/ 0 w 3352793"/>
              <a:gd name="connsiteY0" fmla="*/ 0 h 522514"/>
              <a:gd name="connsiteX1" fmla="*/ 3091536 w 3352793"/>
              <a:gd name="connsiteY1" fmla="*/ 0 h 522514"/>
              <a:gd name="connsiteX2" fmla="*/ 3352793 w 3352793"/>
              <a:gd name="connsiteY2" fmla="*/ 261257 h 522514"/>
              <a:gd name="connsiteX3" fmla="*/ 3091536 w 3352793"/>
              <a:gd name="connsiteY3" fmla="*/ 522514 h 522514"/>
              <a:gd name="connsiteX4" fmla="*/ 0 w 3352793"/>
              <a:gd name="connsiteY4" fmla="*/ 522514 h 522514"/>
              <a:gd name="connsiteX5" fmla="*/ 0 w 3352793"/>
              <a:gd name="connsiteY5" fmla="*/ 0 h 522514"/>
              <a:gd name="connsiteX0" fmla="*/ 66797 w 3419590"/>
              <a:gd name="connsiteY0" fmla="*/ 0 h 539189"/>
              <a:gd name="connsiteX1" fmla="*/ 3158333 w 3419590"/>
              <a:gd name="connsiteY1" fmla="*/ 0 h 539189"/>
              <a:gd name="connsiteX2" fmla="*/ 3419590 w 3419590"/>
              <a:gd name="connsiteY2" fmla="*/ 261257 h 539189"/>
              <a:gd name="connsiteX3" fmla="*/ 3158333 w 3419590"/>
              <a:gd name="connsiteY3" fmla="*/ 522514 h 539189"/>
              <a:gd name="connsiteX4" fmla="*/ 0 w 3419590"/>
              <a:gd name="connsiteY4" fmla="*/ 539189 h 539189"/>
              <a:gd name="connsiteX5" fmla="*/ 66797 w 3419590"/>
              <a:gd name="connsiteY5" fmla="*/ 0 h 539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419590" h="539189">
                <a:moveTo>
                  <a:pt x="66797" y="0"/>
                </a:moveTo>
                <a:lnTo>
                  <a:pt x="3158333" y="0"/>
                </a:lnTo>
                <a:lnTo>
                  <a:pt x="3419590" y="261257"/>
                </a:lnTo>
                <a:lnTo>
                  <a:pt x="3158333" y="522514"/>
                </a:lnTo>
                <a:lnTo>
                  <a:pt x="0" y="539189"/>
                </a:lnTo>
                <a:lnTo>
                  <a:pt x="66797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11" name="화살표: 오각형 13">
            <a:extLst>
              <a:ext uri="{FF2B5EF4-FFF2-40B4-BE49-F238E27FC236}">
                <a16:creationId xmlns:a16="http://schemas.microsoft.com/office/drawing/2014/main" id="{5F304F0D-D94A-4B0D-BE60-ABF85621ADF5}"/>
              </a:ext>
            </a:extLst>
          </p:cNvPr>
          <p:cNvSpPr/>
          <p:nvPr/>
        </p:nvSpPr>
        <p:spPr>
          <a:xfrm rot="11426878">
            <a:off x="2607660" y="2753038"/>
            <a:ext cx="3533946" cy="561130"/>
          </a:xfrm>
          <a:custGeom>
            <a:avLst/>
            <a:gdLst>
              <a:gd name="connsiteX0" fmla="*/ 0 w 3352793"/>
              <a:gd name="connsiteY0" fmla="*/ 0 h 522514"/>
              <a:gd name="connsiteX1" fmla="*/ 3091536 w 3352793"/>
              <a:gd name="connsiteY1" fmla="*/ 0 h 522514"/>
              <a:gd name="connsiteX2" fmla="*/ 3352793 w 3352793"/>
              <a:gd name="connsiteY2" fmla="*/ 261257 h 522514"/>
              <a:gd name="connsiteX3" fmla="*/ 3091536 w 3352793"/>
              <a:gd name="connsiteY3" fmla="*/ 522514 h 522514"/>
              <a:gd name="connsiteX4" fmla="*/ 0 w 3352793"/>
              <a:gd name="connsiteY4" fmla="*/ 522514 h 522514"/>
              <a:gd name="connsiteX5" fmla="*/ 0 w 3352793"/>
              <a:gd name="connsiteY5" fmla="*/ 0 h 522514"/>
              <a:gd name="connsiteX0" fmla="*/ 66797 w 3419590"/>
              <a:gd name="connsiteY0" fmla="*/ 0 h 539189"/>
              <a:gd name="connsiteX1" fmla="*/ 3158333 w 3419590"/>
              <a:gd name="connsiteY1" fmla="*/ 0 h 539189"/>
              <a:gd name="connsiteX2" fmla="*/ 3419590 w 3419590"/>
              <a:gd name="connsiteY2" fmla="*/ 261257 h 539189"/>
              <a:gd name="connsiteX3" fmla="*/ 3158333 w 3419590"/>
              <a:gd name="connsiteY3" fmla="*/ 522514 h 539189"/>
              <a:gd name="connsiteX4" fmla="*/ 0 w 3419590"/>
              <a:gd name="connsiteY4" fmla="*/ 539189 h 539189"/>
              <a:gd name="connsiteX5" fmla="*/ 66797 w 3419590"/>
              <a:gd name="connsiteY5" fmla="*/ 0 h 539189"/>
              <a:gd name="connsiteX0" fmla="*/ 0 w 3533946"/>
              <a:gd name="connsiteY0" fmla="*/ 0 h 561130"/>
              <a:gd name="connsiteX1" fmla="*/ 3272689 w 3533946"/>
              <a:gd name="connsiteY1" fmla="*/ 21941 h 561130"/>
              <a:gd name="connsiteX2" fmla="*/ 3533946 w 3533946"/>
              <a:gd name="connsiteY2" fmla="*/ 283198 h 561130"/>
              <a:gd name="connsiteX3" fmla="*/ 3272689 w 3533946"/>
              <a:gd name="connsiteY3" fmla="*/ 544455 h 561130"/>
              <a:gd name="connsiteX4" fmla="*/ 114356 w 3533946"/>
              <a:gd name="connsiteY4" fmla="*/ 561130 h 561130"/>
              <a:gd name="connsiteX5" fmla="*/ 0 w 3533946"/>
              <a:gd name="connsiteY5" fmla="*/ 0 h 561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33946" h="561130">
                <a:moveTo>
                  <a:pt x="0" y="0"/>
                </a:moveTo>
                <a:lnTo>
                  <a:pt x="3272689" y="21941"/>
                </a:lnTo>
                <a:lnTo>
                  <a:pt x="3533946" y="283198"/>
                </a:lnTo>
                <a:lnTo>
                  <a:pt x="3272689" y="544455"/>
                </a:lnTo>
                <a:lnTo>
                  <a:pt x="114356" y="56113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12" name="화살표: 오각형 13">
            <a:extLst>
              <a:ext uri="{FF2B5EF4-FFF2-40B4-BE49-F238E27FC236}">
                <a16:creationId xmlns:a16="http://schemas.microsoft.com/office/drawing/2014/main" id="{A1212A81-9351-4EA2-8199-7C5ED92A5D04}"/>
              </a:ext>
            </a:extLst>
          </p:cNvPr>
          <p:cNvSpPr/>
          <p:nvPr/>
        </p:nvSpPr>
        <p:spPr>
          <a:xfrm>
            <a:off x="6062897" y="3990952"/>
            <a:ext cx="3419590" cy="539189"/>
          </a:xfrm>
          <a:custGeom>
            <a:avLst/>
            <a:gdLst>
              <a:gd name="connsiteX0" fmla="*/ 0 w 3352793"/>
              <a:gd name="connsiteY0" fmla="*/ 0 h 522514"/>
              <a:gd name="connsiteX1" fmla="*/ 3091536 w 3352793"/>
              <a:gd name="connsiteY1" fmla="*/ 0 h 522514"/>
              <a:gd name="connsiteX2" fmla="*/ 3352793 w 3352793"/>
              <a:gd name="connsiteY2" fmla="*/ 261257 h 522514"/>
              <a:gd name="connsiteX3" fmla="*/ 3091536 w 3352793"/>
              <a:gd name="connsiteY3" fmla="*/ 522514 h 522514"/>
              <a:gd name="connsiteX4" fmla="*/ 0 w 3352793"/>
              <a:gd name="connsiteY4" fmla="*/ 522514 h 522514"/>
              <a:gd name="connsiteX5" fmla="*/ 0 w 3352793"/>
              <a:gd name="connsiteY5" fmla="*/ 0 h 522514"/>
              <a:gd name="connsiteX0" fmla="*/ 66797 w 3419590"/>
              <a:gd name="connsiteY0" fmla="*/ 0 h 539189"/>
              <a:gd name="connsiteX1" fmla="*/ 3158333 w 3419590"/>
              <a:gd name="connsiteY1" fmla="*/ 0 h 539189"/>
              <a:gd name="connsiteX2" fmla="*/ 3419590 w 3419590"/>
              <a:gd name="connsiteY2" fmla="*/ 261257 h 539189"/>
              <a:gd name="connsiteX3" fmla="*/ 3158333 w 3419590"/>
              <a:gd name="connsiteY3" fmla="*/ 522514 h 539189"/>
              <a:gd name="connsiteX4" fmla="*/ 0 w 3419590"/>
              <a:gd name="connsiteY4" fmla="*/ 539189 h 539189"/>
              <a:gd name="connsiteX5" fmla="*/ 66797 w 3419590"/>
              <a:gd name="connsiteY5" fmla="*/ 0 h 539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419590" h="539189">
                <a:moveTo>
                  <a:pt x="66797" y="0"/>
                </a:moveTo>
                <a:lnTo>
                  <a:pt x="3158333" y="0"/>
                </a:lnTo>
                <a:lnTo>
                  <a:pt x="3419590" y="261257"/>
                </a:lnTo>
                <a:lnTo>
                  <a:pt x="3158333" y="522514"/>
                </a:lnTo>
                <a:lnTo>
                  <a:pt x="0" y="539189"/>
                </a:lnTo>
                <a:lnTo>
                  <a:pt x="66797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13" name="화살표: 오각형 13">
            <a:extLst>
              <a:ext uri="{FF2B5EF4-FFF2-40B4-BE49-F238E27FC236}">
                <a16:creationId xmlns:a16="http://schemas.microsoft.com/office/drawing/2014/main" id="{689504A9-A9DC-4830-9E47-02F142D2FC41}"/>
              </a:ext>
            </a:extLst>
          </p:cNvPr>
          <p:cNvSpPr/>
          <p:nvPr/>
        </p:nvSpPr>
        <p:spPr>
          <a:xfrm rot="21221221">
            <a:off x="6009173" y="3804578"/>
            <a:ext cx="3419590" cy="539189"/>
          </a:xfrm>
          <a:custGeom>
            <a:avLst/>
            <a:gdLst>
              <a:gd name="connsiteX0" fmla="*/ 0 w 3352793"/>
              <a:gd name="connsiteY0" fmla="*/ 0 h 522514"/>
              <a:gd name="connsiteX1" fmla="*/ 3091536 w 3352793"/>
              <a:gd name="connsiteY1" fmla="*/ 0 h 522514"/>
              <a:gd name="connsiteX2" fmla="*/ 3352793 w 3352793"/>
              <a:gd name="connsiteY2" fmla="*/ 261257 h 522514"/>
              <a:gd name="connsiteX3" fmla="*/ 3091536 w 3352793"/>
              <a:gd name="connsiteY3" fmla="*/ 522514 h 522514"/>
              <a:gd name="connsiteX4" fmla="*/ 0 w 3352793"/>
              <a:gd name="connsiteY4" fmla="*/ 522514 h 522514"/>
              <a:gd name="connsiteX5" fmla="*/ 0 w 3352793"/>
              <a:gd name="connsiteY5" fmla="*/ 0 h 522514"/>
              <a:gd name="connsiteX0" fmla="*/ 66797 w 3419590"/>
              <a:gd name="connsiteY0" fmla="*/ 0 h 539189"/>
              <a:gd name="connsiteX1" fmla="*/ 3158333 w 3419590"/>
              <a:gd name="connsiteY1" fmla="*/ 0 h 539189"/>
              <a:gd name="connsiteX2" fmla="*/ 3419590 w 3419590"/>
              <a:gd name="connsiteY2" fmla="*/ 261257 h 539189"/>
              <a:gd name="connsiteX3" fmla="*/ 3158333 w 3419590"/>
              <a:gd name="connsiteY3" fmla="*/ 522514 h 539189"/>
              <a:gd name="connsiteX4" fmla="*/ 0 w 3419590"/>
              <a:gd name="connsiteY4" fmla="*/ 539189 h 539189"/>
              <a:gd name="connsiteX5" fmla="*/ 66797 w 3419590"/>
              <a:gd name="connsiteY5" fmla="*/ 0 h 539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419590" h="539189">
                <a:moveTo>
                  <a:pt x="66797" y="0"/>
                </a:moveTo>
                <a:lnTo>
                  <a:pt x="3158333" y="0"/>
                </a:lnTo>
                <a:lnTo>
                  <a:pt x="3419590" y="261257"/>
                </a:lnTo>
                <a:lnTo>
                  <a:pt x="3158333" y="522514"/>
                </a:lnTo>
                <a:lnTo>
                  <a:pt x="0" y="539189"/>
                </a:lnTo>
                <a:lnTo>
                  <a:pt x="66797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14" name="화살표: 오각형 13">
            <a:extLst>
              <a:ext uri="{FF2B5EF4-FFF2-40B4-BE49-F238E27FC236}">
                <a16:creationId xmlns:a16="http://schemas.microsoft.com/office/drawing/2014/main" id="{A3A31420-EB65-48F7-AA2F-34BC5699A2B9}"/>
              </a:ext>
            </a:extLst>
          </p:cNvPr>
          <p:cNvSpPr/>
          <p:nvPr/>
        </p:nvSpPr>
        <p:spPr>
          <a:xfrm rot="11055660">
            <a:off x="2509798" y="4810512"/>
            <a:ext cx="3533946" cy="561130"/>
          </a:xfrm>
          <a:custGeom>
            <a:avLst/>
            <a:gdLst>
              <a:gd name="connsiteX0" fmla="*/ 0 w 3352793"/>
              <a:gd name="connsiteY0" fmla="*/ 0 h 522514"/>
              <a:gd name="connsiteX1" fmla="*/ 3091536 w 3352793"/>
              <a:gd name="connsiteY1" fmla="*/ 0 h 522514"/>
              <a:gd name="connsiteX2" fmla="*/ 3352793 w 3352793"/>
              <a:gd name="connsiteY2" fmla="*/ 261257 h 522514"/>
              <a:gd name="connsiteX3" fmla="*/ 3091536 w 3352793"/>
              <a:gd name="connsiteY3" fmla="*/ 522514 h 522514"/>
              <a:gd name="connsiteX4" fmla="*/ 0 w 3352793"/>
              <a:gd name="connsiteY4" fmla="*/ 522514 h 522514"/>
              <a:gd name="connsiteX5" fmla="*/ 0 w 3352793"/>
              <a:gd name="connsiteY5" fmla="*/ 0 h 522514"/>
              <a:gd name="connsiteX0" fmla="*/ 66797 w 3419590"/>
              <a:gd name="connsiteY0" fmla="*/ 0 h 539189"/>
              <a:gd name="connsiteX1" fmla="*/ 3158333 w 3419590"/>
              <a:gd name="connsiteY1" fmla="*/ 0 h 539189"/>
              <a:gd name="connsiteX2" fmla="*/ 3419590 w 3419590"/>
              <a:gd name="connsiteY2" fmla="*/ 261257 h 539189"/>
              <a:gd name="connsiteX3" fmla="*/ 3158333 w 3419590"/>
              <a:gd name="connsiteY3" fmla="*/ 522514 h 539189"/>
              <a:gd name="connsiteX4" fmla="*/ 0 w 3419590"/>
              <a:gd name="connsiteY4" fmla="*/ 539189 h 539189"/>
              <a:gd name="connsiteX5" fmla="*/ 66797 w 3419590"/>
              <a:gd name="connsiteY5" fmla="*/ 0 h 539189"/>
              <a:gd name="connsiteX0" fmla="*/ 0 w 3533946"/>
              <a:gd name="connsiteY0" fmla="*/ 0 h 561130"/>
              <a:gd name="connsiteX1" fmla="*/ 3272689 w 3533946"/>
              <a:gd name="connsiteY1" fmla="*/ 21941 h 561130"/>
              <a:gd name="connsiteX2" fmla="*/ 3533946 w 3533946"/>
              <a:gd name="connsiteY2" fmla="*/ 283198 h 561130"/>
              <a:gd name="connsiteX3" fmla="*/ 3272689 w 3533946"/>
              <a:gd name="connsiteY3" fmla="*/ 544455 h 561130"/>
              <a:gd name="connsiteX4" fmla="*/ 114356 w 3533946"/>
              <a:gd name="connsiteY4" fmla="*/ 561130 h 561130"/>
              <a:gd name="connsiteX5" fmla="*/ 0 w 3533946"/>
              <a:gd name="connsiteY5" fmla="*/ 0 h 561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33946" h="561130">
                <a:moveTo>
                  <a:pt x="0" y="0"/>
                </a:moveTo>
                <a:lnTo>
                  <a:pt x="3272689" y="21941"/>
                </a:lnTo>
                <a:lnTo>
                  <a:pt x="3533946" y="283198"/>
                </a:lnTo>
                <a:lnTo>
                  <a:pt x="3272689" y="544455"/>
                </a:lnTo>
                <a:lnTo>
                  <a:pt x="114356" y="56113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15" name="화살표: 오각형 13">
            <a:extLst>
              <a:ext uri="{FF2B5EF4-FFF2-40B4-BE49-F238E27FC236}">
                <a16:creationId xmlns:a16="http://schemas.microsoft.com/office/drawing/2014/main" id="{9A8540B2-40F1-4DC3-BDB1-04477D3A1D30}"/>
              </a:ext>
            </a:extLst>
          </p:cNvPr>
          <p:cNvSpPr/>
          <p:nvPr/>
        </p:nvSpPr>
        <p:spPr>
          <a:xfrm rot="11426878">
            <a:off x="2605991" y="4625246"/>
            <a:ext cx="3533946" cy="561130"/>
          </a:xfrm>
          <a:custGeom>
            <a:avLst/>
            <a:gdLst>
              <a:gd name="connsiteX0" fmla="*/ 0 w 3352793"/>
              <a:gd name="connsiteY0" fmla="*/ 0 h 522514"/>
              <a:gd name="connsiteX1" fmla="*/ 3091536 w 3352793"/>
              <a:gd name="connsiteY1" fmla="*/ 0 h 522514"/>
              <a:gd name="connsiteX2" fmla="*/ 3352793 w 3352793"/>
              <a:gd name="connsiteY2" fmla="*/ 261257 h 522514"/>
              <a:gd name="connsiteX3" fmla="*/ 3091536 w 3352793"/>
              <a:gd name="connsiteY3" fmla="*/ 522514 h 522514"/>
              <a:gd name="connsiteX4" fmla="*/ 0 w 3352793"/>
              <a:gd name="connsiteY4" fmla="*/ 522514 h 522514"/>
              <a:gd name="connsiteX5" fmla="*/ 0 w 3352793"/>
              <a:gd name="connsiteY5" fmla="*/ 0 h 522514"/>
              <a:gd name="connsiteX0" fmla="*/ 66797 w 3419590"/>
              <a:gd name="connsiteY0" fmla="*/ 0 h 539189"/>
              <a:gd name="connsiteX1" fmla="*/ 3158333 w 3419590"/>
              <a:gd name="connsiteY1" fmla="*/ 0 h 539189"/>
              <a:gd name="connsiteX2" fmla="*/ 3419590 w 3419590"/>
              <a:gd name="connsiteY2" fmla="*/ 261257 h 539189"/>
              <a:gd name="connsiteX3" fmla="*/ 3158333 w 3419590"/>
              <a:gd name="connsiteY3" fmla="*/ 522514 h 539189"/>
              <a:gd name="connsiteX4" fmla="*/ 0 w 3419590"/>
              <a:gd name="connsiteY4" fmla="*/ 539189 h 539189"/>
              <a:gd name="connsiteX5" fmla="*/ 66797 w 3419590"/>
              <a:gd name="connsiteY5" fmla="*/ 0 h 539189"/>
              <a:gd name="connsiteX0" fmla="*/ 0 w 3533946"/>
              <a:gd name="connsiteY0" fmla="*/ 0 h 561130"/>
              <a:gd name="connsiteX1" fmla="*/ 3272689 w 3533946"/>
              <a:gd name="connsiteY1" fmla="*/ 21941 h 561130"/>
              <a:gd name="connsiteX2" fmla="*/ 3533946 w 3533946"/>
              <a:gd name="connsiteY2" fmla="*/ 283198 h 561130"/>
              <a:gd name="connsiteX3" fmla="*/ 3272689 w 3533946"/>
              <a:gd name="connsiteY3" fmla="*/ 544455 h 561130"/>
              <a:gd name="connsiteX4" fmla="*/ 114356 w 3533946"/>
              <a:gd name="connsiteY4" fmla="*/ 561130 h 561130"/>
              <a:gd name="connsiteX5" fmla="*/ 0 w 3533946"/>
              <a:gd name="connsiteY5" fmla="*/ 0 h 561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33946" h="561130">
                <a:moveTo>
                  <a:pt x="0" y="0"/>
                </a:moveTo>
                <a:lnTo>
                  <a:pt x="3272689" y="21941"/>
                </a:lnTo>
                <a:lnTo>
                  <a:pt x="3533946" y="283198"/>
                </a:lnTo>
                <a:lnTo>
                  <a:pt x="3272689" y="544455"/>
                </a:lnTo>
                <a:lnTo>
                  <a:pt x="114356" y="56113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1107A4B-4BB7-4A52-838C-6AF7471A690E}"/>
              </a:ext>
            </a:extLst>
          </p:cNvPr>
          <p:cNvSpPr txBox="1"/>
          <p:nvPr/>
        </p:nvSpPr>
        <p:spPr>
          <a:xfrm rot="21169496">
            <a:off x="6599042" y="1942724"/>
            <a:ext cx="2206053" cy="4462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300" dirty="0" smtClean="0">
                <a:solidFill>
                  <a:schemeClr val="bg1"/>
                </a:solidFill>
                <a:latin typeface="나눔스퀘어라운드 Bold" pitchFamily="50" charset="-127"/>
                <a:ea typeface="나눔스퀘어라운드 Bold" pitchFamily="50" charset="-127"/>
              </a:rPr>
              <a:t>첫번째 코드 소개</a:t>
            </a:r>
            <a:endParaRPr lang="ko-KR" altLang="en-US" sz="2300" dirty="0">
              <a:solidFill>
                <a:schemeClr val="bg1"/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97647F53-8084-47A9-B0DA-01D97A1A5849}"/>
              </a:ext>
            </a:extLst>
          </p:cNvPr>
          <p:cNvSpPr txBox="1"/>
          <p:nvPr/>
        </p:nvSpPr>
        <p:spPr>
          <a:xfrm>
            <a:off x="825478" y="601524"/>
            <a:ext cx="110799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800" smtClean="0">
                <a:solidFill>
                  <a:schemeClr val="tx2"/>
                </a:solidFill>
                <a:latin typeface="나눔스퀘어라운드 Bold" pitchFamily="50" charset="-127"/>
                <a:ea typeface="나눔스퀘어라운드 Bold" pitchFamily="50" charset="-127"/>
              </a:rPr>
              <a:t>목   차</a:t>
            </a:r>
            <a:endParaRPr lang="ko-KR" altLang="en-US" sz="2800" dirty="0">
              <a:solidFill>
                <a:schemeClr val="tx2"/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cxnSp>
        <p:nvCxnSpPr>
          <p:cNvPr id="40" name="직선 연결선 39">
            <a:extLst>
              <a:ext uri="{FF2B5EF4-FFF2-40B4-BE49-F238E27FC236}">
                <a16:creationId xmlns:a16="http://schemas.microsoft.com/office/drawing/2014/main" id="{246EDE8A-3DAB-4D88-8DA7-1DC8C7AC97CA}"/>
              </a:ext>
            </a:extLst>
          </p:cNvPr>
          <p:cNvCxnSpPr/>
          <p:nvPr/>
        </p:nvCxnSpPr>
        <p:spPr>
          <a:xfrm>
            <a:off x="695400" y="548759"/>
            <a:ext cx="1368152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직선 연결선 40">
            <a:extLst>
              <a:ext uri="{FF2B5EF4-FFF2-40B4-BE49-F238E27FC236}">
                <a16:creationId xmlns:a16="http://schemas.microsoft.com/office/drawing/2014/main" id="{F36F2A08-DF97-4D22-95F1-1D4710A987E4}"/>
              </a:ext>
            </a:extLst>
          </p:cNvPr>
          <p:cNvCxnSpPr/>
          <p:nvPr/>
        </p:nvCxnSpPr>
        <p:spPr>
          <a:xfrm>
            <a:off x="695400" y="1124744"/>
            <a:ext cx="1368152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01107A4B-4BB7-4A52-838C-6AF7471A690E}"/>
              </a:ext>
            </a:extLst>
          </p:cNvPr>
          <p:cNvSpPr txBox="1"/>
          <p:nvPr/>
        </p:nvSpPr>
        <p:spPr>
          <a:xfrm rot="637771">
            <a:off x="3325329" y="2836972"/>
            <a:ext cx="2206053" cy="4462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300" dirty="0" smtClean="0">
                <a:solidFill>
                  <a:schemeClr val="bg1"/>
                </a:solidFill>
                <a:latin typeface="나눔스퀘어라운드 Bold" pitchFamily="50" charset="-127"/>
                <a:ea typeface="나눔스퀘어라운드 Bold" pitchFamily="50" charset="-127"/>
              </a:rPr>
              <a:t>두번째 코드 소개</a:t>
            </a:r>
            <a:endParaRPr lang="ko-KR" altLang="en-US" sz="2300" dirty="0">
              <a:solidFill>
                <a:schemeClr val="bg1"/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1107A4B-4BB7-4A52-838C-6AF7471A690E}"/>
              </a:ext>
            </a:extLst>
          </p:cNvPr>
          <p:cNvSpPr txBox="1"/>
          <p:nvPr/>
        </p:nvSpPr>
        <p:spPr>
          <a:xfrm rot="21169496">
            <a:off x="6197492" y="3847210"/>
            <a:ext cx="3009157" cy="4462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300" dirty="0" smtClean="0">
                <a:solidFill>
                  <a:schemeClr val="bg1"/>
                </a:solidFill>
                <a:latin typeface="나눔스퀘어라운드 Bold" pitchFamily="50" charset="-127"/>
                <a:ea typeface="나눔스퀘어라운드 Bold" pitchFamily="50" charset="-127"/>
              </a:rPr>
              <a:t>알고리즘의 무결성 검증</a:t>
            </a:r>
            <a:endParaRPr lang="ko-KR" altLang="en-US" sz="2300" dirty="0">
              <a:solidFill>
                <a:schemeClr val="bg1"/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01107A4B-4BB7-4A52-838C-6AF7471A690E}"/>
              </a:ext>
            </a:extLst>
          </p:cNvPr>
          <p:cNvSpPr txBox="1"/>
          <p:nvPr/>
        </p:nvSpPr>
        <p:spPr>
          <a:xfrm rot="637771">
            <a:off x="3057629" y="4695546"/>
            <a:ext cx="2741456" cy="4462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300" dirty="0" smtClean="0">
                <a:solidFill>
                  <a:schemeClr val="bg1"/>
                </a:solidFill>
                <a:latin typeface="나눔스퀘어라운드 Bold" pitchFamily="50" charset="-127"/>
                <a:ea typeface="나눔스퀘어라운드 Bold" pitchFamily="50" charset="-127"/>
              </a:rPr>
              <a:t>알고리즘의 시간 효율</a:t>
            </a:r>
            <a:endParaRPr lang="ko-KR" altLang="en-US" sz="2300" dirty="0">
              <a:solidFill>
                <a:schemeClr val="bg1"/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561143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/>
          <p:cNvSpPr/>
          <p:nvPr/>
        </p:nvSpPr>
        <p:spPr>
          <a:xfrm>
            <a:off x="266831" y="260648"/>
            <a:ext cx="11658337" cy="6336704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3466" y="874103"/>
            <a:ext cx="7068536" cy="3038899"/>
          </a:xfrm>
          <a:prstGeom prst="rect">
            <a:avLst/>
          </a:prstGeom>
        </p:spPr>
      </p:pic>
      <p:pic>
        <p:nvPicPr>
          <p:cNvPr id="3" name="그림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3466" y="4437112"/>
            <a:ext cx="5858693" cy="148610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1107A4B-4BB7-4A52-838C-6AF7471A690E}"/>
              </a:ext>
            </a:extLst>
          </p:cNvPr>
          <p:cNvSpPr txBox="1"/>
          <p:nvPr/>
        </p:nvSpPr>
        <p:spPr>
          <a:xfrm>
            <a:off x="565035" y="937253"/>
            <a:ext cx="2940228" cy="37856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400" dirty="0" smtClean="0">
                <a:latin typeface="나눔스퀘어라운드 Bold" pitchFamily="50" charset="-127"/>
                <a:ea typeface="나눔스퀘어라운드 Bold" pitchFamily="50" charset="-127"/>
              </a:rPr>
              <a:t>기본 설정</a:t>
            </a:r>
            <a:endParaRPr lang="en-US" altLang="ko-KR" sz="2400" dirty="0" smtClean="0">
              <a:latin typeface="나눔스퀘어라운드 Bold" pitchFamily="50" charset="-127"/>
              <a:ea typeface="나눔스퀘어라운드 Bold" pitchFamily="50" charset="-127"/>
            </a:endParaRPr>
          </a:p>
          <a:p>
            <a:endParaRPr lang="en-US" altLang="ko-KR" sz="2400" dirty="0">
              <a:latin typeface="나눔스퀘어라운드 Bold" pitchFamily="50" charset="-127"/>
              <a:ea typeface="나눔스퀘어라운드 Bold" pitchFamily="50" charset="-127"/>
            </a:endParaRPr>
          </a:p>
          <a:p>
            <a:endParaRPr lang="en-US" altLang="ko-KR" sz="2400" dirty="0" smtClean="0">
              <a:latin typeface="나눔스퀘어라운드 Bold" pitchFamily="50" charset="-127"/>
              <a:ea typeface="나눔스퀘어라운드 Bold" pitchFamily="50" charset="-127"/>
            </a:endParaRPr>
          </a:p>
          <a:p>
            <a:endParaRPr lang="en-US" altLang="ko-KR" sz="2400" dirty="0" smtClean="0">
              <a:latin typeface="나눔스퀘어라운드 Bold" pitchFamily="50" charset="-127"/>
              <a:ea typeface="나눔스퀘어라운드 Bold" pitchFamily="50" charset="-127"/>
            </a:endParaRPr>
          </a:p>
          <a:p>
            <a:endParaRPr lang="en-US" altLang="ko-KR" sz="2400" dirty="0">
              <a:latin typeface="나눔스퀘어라운드 Bold" pitchFamily="50" charset="-127"/>
              <a:ea typeface="나눔스퀘어라운드 Bold" pitchFamily="50" charset="-127"/>
            </a:endParaRPr>
          </a:p>
          <a:p>
            <a:endParaRPr lang="en-US" altLang="ko-KR" sz="2400" dirty="0" smtClean="0">
              <a:latin typeface="나눔스퀘어라운드 Bold" pitchFamily="50" charset="-127"/>
              <a:ea typeface="나눔스퀘어라운드 Bold" pitchFamily="50" charset="-127"/>
            </a:endParaRPr>
          </a:p>
          <a:p>
            <a:endParaRPr lang="en-US" altLang="ko-KR" sz="2400" dirty="0">
              <a:latin typeface="나눔스퀘어라운드 Bold" pitchFamily="50" charset="-127"/>
              <a:ea typeface="나눔스퀘어라운드 Bold" pitchFamily="50" charset="-127"/>
            </a:endParaRPr>
          </a:p>
          <a:p>
            <a:endParaRPr lang="en-US" altLang="ko-KR" sz="2400" dirty="0" smtClean="0">
              <a:latin typeface="나눔스퀘어라운드 Bold" pitchFamily="50" charset="-127"/>
              <a:ea typeface="나눔스퀘어라운드 Bold" pitchFamily="50" charset="-127"/>
            </a:endParaRPr>
          </a:p>
          <a:p>
            <a:endParaRPr lang="en-US" altLang="ko-KR" sz="2400" dirty="0" smtClean="0">
              <a:latin typeface="나눔스퀘어라운드 Bold" pitchFamily="50" charset="-127"/>
              <a:ea typeface="나눔스퀘어라운드 Bold" pitchFamily="50" charset="-127"/>
            </a:endParaRPr>
          </a:p>
          <a:p>
            <a:r>
              <a:rPr lang="ko-KR" altLang="en-US" sz="2400" dirty="0">
                <a:latin typeface="나눔스퀘어라운드 Bold" pitchFamily="50" charset="-127"/>
                <a:ea typeface="나눔스퀘어라운드 Bold" pitchFamily="50" charset="-127"/>
              </a:rPr>
              <a:t>등수에 따른 보상 </a:t>
            </a:r>
            <a:r>
              <a:rPr lang="ko-KR" altLang="en-US" sz="2400" dirty="0" smtClean="0">
                <a:latin typeface="나눔스퀘어라운드 Bold" pitchFamily="50" charset="-127"/>
                <a:ea typeface="나눔스퀘어라운드 Bold" pitchFamily="50" charset="-127"/>
              </a:rPr>
              <a:t>지급</a:t>
            </a:r>
            <a:endParaRPr lang="ko-KR" altLang="en-US" sz="2400" dirty="0"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7803" y="4869160"/>
            <a:ext cx="869885" cy="869885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268" y="874103"/>
            <a:ext cx="912037" cy="912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7710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직사각형 14"/>
          <p:cNvSpPr/>
          <p:nvPr/>
        </p:nvSpPr>
        <p:spPr>
          <a:xfrm>
            <a:off x="266831" y="260648"/>
            <a:ext cx="11658337" cy="6336704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DB16BA56-10B6-44A3-8D21-A352905D37A4}"/>
              </a:ext>
            </a:extLst>
          </p:cNvPr>
          <p:cNvSpPr/>
          <p:nvPr/>
        </p:nvSpPr>
        <p:spPr>
          <a:xfrm>
            <a:off x="266830" y="892406"/>
            <a:ext cx="11658337" cy="667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10" name="사각형: 둥근 모서리 5">
            <a:extLst>
              <a:ext uri="{FF2B5EF4-FFF2-40B4-BE49-F238E27FC236}">
                <a16:creationId xmlns:a16="http://schemas.microsoft.com/office/drawing/2014/main" id="{AF2E363F-20BC-436E-9A7E-C4ED80984A4A}"/>
              </a:ext>
            </a:extLst>
          </p:cNvPr>
          <p:cNvSpPr/>
          <p:nvPr/>
        </p:nvSpPr>
        <p:spPr>
          <a:xfrm>
            <a:off x="5486747" y="441646"/>
            <a:ext cx="1125545" cy="476759"/>
          </a:xfrm>
          <a:custGeom>
            <a:avLst/>
            <a:gdLst>
              <a:gd name="connsiteX0" fmla="*/ 0 w 1432874"/>
              <a:gd name="connsiteY0" fmla="*/ 105032 h 630180"/>
              <a:gd name="connsiteX1" fmla="*/ 105032 w 1432874"/>
              <a:gd name="connsiteY1" fmla="*/ 0 h 630180"/>
              <a:gd name="connsiteX2" fmla="*/ 1327842 w 1432874"/>
              <a:gd name="connsiteY2" fmla="*/ 0 h 630180"/>
              <a:gd name="connsiteX3" fmla="*/ 1432874 w 1432874"/>
              <a:gd name="connsiteY3" fmla="*/ 105032 h 630180"/>
              <a:gd name="connsiteX4" fmla="*/ 1432874 w 1432874"/>
              <a:gd name="connsiteY4" fmla="*/ 525148 h 630180"/>
              <a:gd name="connsiteX5" fmla="*/ 1327842 w 1432874"/>
              <a:gd name="connsiteY5" fmla="*/ 630180 h 630180"/>
              <a:gd name="connsiteX6" fmla="*/ 105032 w 1432874"/>
              <a:gd name="connsiteY6" fmla="*/ 630180 h 630180"/>
              <a:gd name="connsiteX7" fmla="*/ 0 w 1432874"/>
              <a:gd name="connsiteY7" fmla="*/ 525148 h 630180"/>
              <a:gd name="connsiteX8" fmla="*/ 0 w 1432874"/>
              <a:gd name="connsiteY8" fmla="*/ 105032 h 630180"/>
              <a:gd name="connsiteX0" fmla="*/ 0 w 1432874"/>
              <a:gd name="connsiteY0" fmla="*/ 105032 h 630763"/>
              <a:gd name="connsiteX1" fmla="*/ 105032 w 1432874"/>
              <a:gd name="connsiteY1" fmla="*/ 0 h 630763"/>
              <a:gd name="connsiteX2" fmla="*/ 1327842 w 1432874"/>
              <a:gd name="connsiteY2" fmla="*/ 0 h 630763"/>
              <a:gd name="connsiteX3" fmla="*/ 1432874 w 1432874"/>
              <a:gd name="connsiteY3" fmla="*/ 105032 h 630763"/>
              <a:gd name="connsiteX4" fmla="*/ 1432874 w 1432874"/>
              <a:gd name="connsiteY4" fmla="*/ 525148 h 630763"/>
              <a:gd name="connsiteX5" fmla="*/ 1327842 w 1432874"/>
              <a:gd name="connsiteY5" fmla="*/ 630180 h 630763"/>
              <a:gd name="connsiteX6" fmla="*/ 105032 w 1432874"/>
              <a:gd name="connsiteY6" fmla="*/ 630180 h 630763"/>
              <a:gd name="connsiteX7" fmla="*/ 0 w 1432874"/>
              <a:gd name="connsiteY7" fmla="*/ 581709 h 630763"/>
              <a:gd name="connsiteX8" fmla="*/ 0 w 1432874"/>
              <a:gd name="connsiteY8" fmla="*/ 105032 h 630763"/>
              <a:gd name="connsiteX0" fmla="*/ 0 w 1432874"/>
              <a:gd name="connsiteY0" fmla="*/ 105032 h 642292"/>
              <a:gd name="connsiteX1" fmla="*/ 105032 w 1432874"/>
              <a:gd name="connsiteY1" fmla="*/ 0 h 642292"/>
              <a:gd name="connsiteX2" fmla="*/ 1327842 w 1432874"/>
              <a:gd name="connsiteY2" fmla="*/ 0 h 642292"/>
              <a:gd name="connsiteX3" fmla="*/ 1432874 w 1432874"/>
              <a:gd name="connsiteY3" fmla="*/ 105032 h 642292"/>
              <a:gd name="connsiteX4" fmla="*/ 1432874 w 1432874"/>
              <a:gd name="connsiteY4" fmla="*/ 609989 h 642292"/>
              <a:gd name="connsiteX5" fmla="*/ 1327842 w 1432874"/>
              <a:gd name="connsiteY5" fmla="*/ 630180 h 642292"/>
              <a:gd name="connsiteX6" fmla="*/ 105032 w 1432874"/>
              <a:gd name="connsiteY6" fmla="*/ 630180 h 642292"/>
              <a:gd name="connsiteX7" fmla="*/ 0 w 1432874"/>
              <a:gd name="connsiteY7" fmla="*/ 581709 h 642292"/>
              <a:gd name="connsiteX8" fmla="*/ 0 w 1432874"/>
              <a:gd name="connsiteY8" fmla="*/ 105032 h 6422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32874" h="642292">
                <a:moveTo>
                  <a:pt x="0" y="105032"/>
                </a:moveTo>
                <a:cubicBezTo>
                  <a:pt x="0" y="47024"/>
                  <a:pt x="47024" y="0"/>
                  <a:pt x="105032" y="0"/>
                </a:cubicBezTo>
                <a:lnTo>
                  <a:pt x="1327842" y="0"/>
                </a:lnTo>
                <a:cubicBezTo>
                  <a:pt x="1385850" y="0"/>
                  <a:pt x="1432874" y="47024"/>
                  <a:pt x="1432874" y="105032"/>
                </a:cubicBezTo>
                <a:lnTo>
                  <a:pt x="1432874" y="609989"/>
                </a:lnTo>
                <a:cubicBezTo>
                  <a:pt x="1432874" y="667997"/>
                  <a:pt x="1385850" y="630180"/>
                  <a:pt x="1327842" y="630180"/>
                </a:cubicBezTo>
                <a:lnTo>
                  <a:pt x="105032" y="630180"/>
                </a:lnTo>
                <a:cubicBezTo>
                  <a:pt x="47024" y="630180"/>
                  <a:pt x="0" y="639717"/>
                  <a:pt x="0" y="581709"/>
                </a:cubicBezTo>
                <a:lnTo>
                  <a:pt x="0" y="10503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00DB5B6-C5B5-44A3-B302-24026388148B}"/>
              </a:ext>
            </a:extLst>
          </p:cNvPr>
          <p:cNvSpPr txBox="1"/>
          <p:nvPr/>
        </p:nvSpPr>
        <p:spPr>
          <a:xfrm>
            <a:off x="5665434" y="482360"/>
            <a:ext cx="803425" cy="369332"/>
          </a:xfrm>
          <a:prstGeom prst="rect">
            <a:avLst/>
          </a:prstGeom>
          <a:solidFill>
            <a:schemeClr val="tx2"/>
          </a:solidFill>
        </p:spPr>
        <p:txBody>
          <a:bodyPr wrap="none" rtlCol="0">
            <a:spAutoFit/>
          </a:bodyPr>
          <a:lstStyle/>
          <a:p>
            <a:r>
              <a:rPr lang="ko-KR" altLang="en-US" dirty="0" smtClean="0">
                <a:solidFill>
                  <a:schemeClr val="bg1"/>
                </a:solidFill>
                <a:latin typeface="나눔스퀘어라운드 Bold" pitchFamily="50" charset="-127"/>
                <a:ea typeface="나눔스퀘어라운드 Bold" pitchFamily="50" charset="-127"/>
              </a:rPr>
              <a:t>코드</a:t>
            </a:r>
            <a:r>
              <a:rPr lang="en-US" altLang="ko-KR" dirty="0">
                <a:solidFill>
                  <a:schemeClr val="bg1"/>
                </a:solidFill>
                <a:latin typeface="나눔스퀘어라운드 Bold" pitchFamily="50" charset="-127"/>
                <a:ea typeface="나눔스퀘어라운드 Bold" pitchFamily="50" charset="-127"/>
              </a:rPr>
              <a:t> </a:t>
            </a:r>
            <a:r>
              <a:rPr lang="en-US" altLang="ko-KR" dirty="0" smtClean="0">
                <a:solidFill>
                  <a:schemeClr val="bg1"/>
                </a:solidFill>
                <a:latin typeface="나눔스퀘어라운드 Bold" pitchFamily="50" charset="-127"/>
                <a:ea typeface="나눔스퀘어라운드 Bold" pitchFamily="50" charset="-127"/>
              </a:rPr>
              <a:t>1</a:t>
            </a:r>
            <a:endParaRPr lang="ko-KR" altLang="en-US" dirty="0">
              <a:solidFill>
                <a:schemeClr val="bg1"/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A63D2C7-D237-4D03-93FC-181A62B8AB20}"/>
              </a:ext>
            </a:extLst>
          </p:cNvPr>
          <p:cNvSpPr txBox="1"/>
          <p:nvPr/>
        </p:nvSpPr>
        <p:spPr>
          <a:xfrm>
            <a:off x="6760327" y="482360"/>
            <a:ext cx="8034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smtClean="0">
                <a:solidFill>
                  <a:schemeClr val="bg1">
                    <a:lumMod val="6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코드</a:t>
            </a:r>
            <a:r>
              <a:rPr lang="en-US" altLang="ko-KR" dirty="0">
                <a:solidFill>
                  <a:schemeClr val="bg1">
                    <a:lumMod val="6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 </a:t>
            </a:r>
            <a:r>
              <a:rPr lang="en-US" altLang="ko-KR" dirty="0" smtClean="0">
                <a:solidFill>
                  <a:schemeClr val="bg1">
                    <a:lumMod val="6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2</a:t>
            </a:r>
            <a:endParaRPr lang="ko-KR" altLang="en-US" dirty="0">
              <a:solidFill>
                <a:schemeClr val="bg1">
                  <a:lumMod val="65000"/>
                </a:schemeClr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FC7FBA5-4B58-410D-915A-64CEC33921CB}"/>
              </a:ext>
            </a:extLst>
          </p:cNvPr>
          <p:cNvSpPr txBox="1"/>
          <p:nvPr/>
        </p:nvSpPr>
        <p:spPr>
          <a:xfrm>
            <a:off x="7855220" y="482360"/>
            <a:ext cx="8146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smtClean="0">
                <a:solidFill>
                  <a:schemeClr val="bg1">
                    <a:lumMod val="6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무결성</a:t>
            </a:r>
            <a:endParaRPr lang="ko-KR" altLang="en-US" dirty="0">
              <a:solidFill>
                <a:schemeClr val="bg1">
                  <a:lumMod val="65000"/>
                </a:schemeClr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BA0ABCF-FD1D-4D14-A862-20A7E806931B}"/>
              </a:ext>
            </a:extLst>
          </p:cNvPr>
          <p:cNvSpPr txBox="1"/>
          <p:nvPr/>
        </p:nvSpPr>
        <p:spPr>
          <a:xfrm>
            <a:off x="8950112" y="482360"/>
            <a:ext cx="10246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err="1" smtClean="0">
                <a:solidFill>
                  <a:schemeClr val="bg1">
                    <a:lumMod val="6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시간효율</a:t>
            </a:r>
            <a:endParaRPr lang="ko-KR" altLang="en-US" dirty="0">
              <a:solidFill>
                <a:schemeClr val="bg1">
                  <a:lumMod val="65000"/>
                </a:schemeClr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1107A4B-4BB7-4A52-838C-6AF7471A690E}"/>
              </a:ext>
            </a:extLst>
          </p:cNvPr>
          <p:cNvSpPr txBox="1"/>
          <p:nvPr/>
        </p:nvSpPr>
        <p:spPr>
          <a:xfrm>
            <a:off x="479376" y="374476"/>
            <a:ext cx="198323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400" dirty="0" smtClean="0">
                <a:latin typeface="나눔스퀘어라운드 Bold" pitchFamily="50" charset="-127"/>
                <a:ea typeface="나눔스퀘어라운드 Bold" pitchFamily="50" charset="-127"/>
              </a:rPr>
              <a:t>코드</a:t>
            </a:r>
            <a:r>
              <a:rPr lang="en-US" altLang="ko-KR" sz="2400" dirty="0" smtClean="0">
                <a:latin typeface="나눔스퀘어라운드 Bold" pitchFamily="50" charset="-127"/>
                <a:ea typeface="나눔스퀘어라운드 Bold" pitchFamily="50" charset="-127"/>
              </a:rPr>
              <a:t>1(</a:t>
            </a:r>
            <a:r>
              <a:rPr lang="ko-KR" altLang="en-US" sz="2400" dirty="0" err="1" smtClean="0">
                <a:latin typeface="나눔스퀘어라운드 Bold" pitchFamily="50" charset="-127"/>
                <a:ea typeface="나눔스퀘어라운드 Bold" pitchFamily="50" charset="-127"/>
              </a:rPr>
              <a:t>퀵정렬</a:t>
            </a:r>
            <a:r>
              <a:rPr lang="en-US" altLang="ko-KR" sz="2400" dirty="0" smtClean="0">
                <a:latin typeface="나눔스퀘어라운드 Bold" pitchFamily="50" charset="-127"/>
                <a:ea typeface="나눔스퀘어라운드 Bold" pitchFamily="50" charset="-127"/>
              </a:rPr>
              <a:t>)</a:t>
            </a:r>
            <a:endParaRPr lang="ko-KR" altLang="en-US" sz="2400" dirty="0"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9496" y="2177812"/>
            <a:ext cx="9240540" cy="1600423"/>
          </a:xfrm>
          <a:prstGeom prst="rect">
            <a:avLst/>
          </a:prstGeom>
        </p:spPr>
      </p:pic>
      <p:sp>
        <p:nvSpPr>
          <p:cNvPr id="3" name="직사각형 2"/>
          <p:cNvSpPr/>
          <p:nvPr/>
        </p:nvSpPr>
        <p:spPr>
          <a:xfrm>
            <a:off x="1815099" y="5001828"/>
            <a:ext cx="8648110" cy="2160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1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12롯데마트드림Medium" panose="02020603020101020101" pitchFamily="18" charset="-127"/>
              <a:ea typeface="12롯데마트드림Medium" panose="02020603020101020101" pitchFamily="18" charset="-127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6023992" y="5088454"/>
            <a:ext cx="112620" cy="53214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1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12롯데마트드림Medium" panose="02020603020101020101" pitchFamily="18" charset="-127"/>
              <a:ea typeface="12롯데마트드림Medium" panose="02020603020101020101" pitchFamily="18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478302" y="5690656"/>
            <a:ext cx="12369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dirty="0" err="1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p_avg</a:t>
            </a:r>
            <a:endParaRPr lang="ko-KR" altLang="en-US" dirty="0">
              <a:latin typeface="12롯데마트드림Medium" panose="02020603020101020101" pitchFamily="18" charset="-127"/>
              <a:ea typeface="12롯데마트드림Medium" panose="02020603020101020101" pitchFamily="18" charset="-127"/>
            </a:endParaRPr>
          </a:p>
        </p:txBody>
      </p:sp>
      <p:sp>
        <p:nvSpPr>
          <p:cNvPr id="19" name="왼쪽/오른쪽 화살표 18"/>
          <p:cNvSpPr/>
          <p:nvPr/>
        </p:nvSpPr>
        <p:spPr>
          <a:xfrm>
            <a:off x="6179766" y="5304478"/>
            <a:ext cx="4283443" cy="249131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12롯데마트드림Medium" panose="02020603020101020101" pitchFamily="18" charset="-127"/>
              <a:ea typeface="12롯데마트드림Medium" panose="02020603020101020101" pitchFamily="18" charset="-127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81530" y="4725144"/>
            <a:ext cx="6671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1</a:t>
            </a:r>
            <a:endParaRPr lang="ko-KR" altLang="en-US" sz="1200" dirty="0">
              <a:latin typeface="12롯데마트드림Medium" panose="02020603020101020101" pitchFamily="18" charset="-127"/>
              <a:ea typeface="12롯데마트드림Medium" panose="02020603020101020101" pitchFamily="18" charset="-127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9772773" y="4664169"/>
            <a:ext cx="13164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n-1=</a:t>
            </a:r>
            <a:r>
              <a:rPr lang="ko-KR" altLang="en-US" sz="12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상위</a:t>
            </a:r>
            <a:r>
              <a:rPr lang="en-US" altLang="ko-KR" sz="12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1</a:t>
            </a:r>
            <a:r>
              <a:rPr lang="ko-KR" altLang="en-US" sz="12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등</a:t>
            </a:r>
            <a:endParaRPr lang="ko-KR" altLang="en-US" sz="1200" dirty="0">
              <a:latin typeface="12롯데마트드림Medium" panose="02020603020101020101" pitchFamily="18" charset="-127"/>
              <a:ea typeface="12롯데마트드림Medium" panose="02020603020101020101" pitchFamily="18" charset="-127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7320136" y="5620598"/>
            <a:ext cx="23015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Quicksort2(</a:t>
            </a:r>
            <a:r>
              <a:rPr lang="ko-KR" altLang="en-US" dirty="0" err="1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퀵정렬</a:t>
            </a:r>
            <a:r>
              <a:rPr lang="en-US" altLang="ko-KR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)</a:t>
            </a:r>
            <a:endParaRPr lang="ko-KR" altLang="en-US" dirty="0">
              <a:latin typeface="12롯데마트드림Medium" panose="02020603020101020101" pitchFamily="18" charset="-127"/>
              <a:ea typeface="12롯데마트드림Mediu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26904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직사각형 14"/>
          <p:cNvSpPr/>
          <p:nvPr/>
        </p:nvSpPr>
        <p:spPr>
          <a:xfrm>
            <a:off x="279216" y="260648"/>
            <a:ext cx="11658337" cy="6336704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DB16BA56-10B6-44A3-8D21-A352905D37A4}"/>
              </a:ext>
            </a:extLst>
          </p:cNvPr>
          <p:cNvSpPr/>
          <p:nvPr/>
        </p:nvSpPr>
        <p:spPr>
          <a:xfrm>
            <a:off x="266830" y="892406"/>
            <a:ext cx="11658337" cy="667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10" name="사각형: 둥근 모서리 5">
            <a:extLst>
              <a:ext uri="{FF2B5EF4-FFF2-40B4-BE49-F238E27FC236}">
                <a16:creationId xmlns:a16="http://schemas.microsoft.com/office/drawing/2014/main" id="{AF2E363F-20BC-436E-9A7E-C4ED80984A4A}"/>
              </a:ext>
            </a:extLst>
          </p:cNvPr>
          <p:cNvSpPr/>
          <p:nvPr/>
        </p:nvSpPr>
        <p:spPr>
          <a:xfrm>
            <a:off x="5486747" y="441646"/>
            <a:ext cx="1125545" cy="476759"/>
          </a:xfrm>
          <a:custGeom>
            <a:avLst/>
            <a:gdLst>
              <a:gd name="connsiteX0" fmla="*/ 0 w 1432874"/>
              <a:gd name="connsiteY0" fmla="*/ 105032 h 630180"/>
              <a:gd name="connsiteX1" fmla="*/ 105032 w 1432874"/>
              <a:gd name="connsiteY1" fmla="*/ 0 h 630180"/>
              <a:gd name="connsiteX2" fmla="*/ 1327842 w 1432874"/>
              <a:gd name="connsiteY2" fmla="*/ 0 h 630180"/>
              <a:gd name="connsiteX3" fmla="*/ 1432874 w 1432874"/>
              <a:gd name="connsiteY3" fmla="*/ 105032 h 630180"/>
              <a:gd name="connsiteX4" fmla="*/ 1432874 w 1432874"/>
              <a:gd name="connsiteY4" fmla="*/ 525148 h 630180"/>
              <a:gd name="connsiteX5" fmla="*/ 1327842 w 1432874"/>
              <a:gd name="connsiteY5" fmla="*/ 630180 h 630180"/>
              <a:gd name="connsiteX6" fmla="*/ 105032 w 1432874"/>
              <a:gd name="connsiteY6" fmla="*/ 630180 h 630180"/>
              <a:gd name="connsiteX7" fmla="*/ 0 w 1432874"/>
              <a:gd name="connsiteY7" fmla="*/ 525148 h 630180"/>
              <a:gd name="connsiteX8" fmla="*/ 0 w 1432874"/>
              <a:gd name="connsiteY8" fmla="*/ 105032 h 630180"/>
              <a:gd name="connsiteX0" fmla="*/ 0 w 1432874"/>
              <a:gd name="connsiteY0" fmla="*/ 105032 h 630763"/>
              <a:gd name="connsiteX1" fmla="*/ 105032 w 1432874"/>
              <a:gd name="connsiteY1" fmla="*/ 0 h 630763"/>
              <a:gd name="connsiteX2" fmla="*/ 1327842 w 1432874"/>
              <a:gd name="connsiteY2" fmla="*/ 0 h 630763"/>
              <a:gd name="connsiteX3" fmla="*/ 1432874 w 1432874"/>
              <a:gd name="connsiteY3" fmla="*/ 105032 h 630763"/>
              <a:gd name="connsiteX4" fmla="*/ 1432874 w 1432874"/>
              <a:gd name="connsiteY4" fmla="*/ 525148 h 630763"/>
              <a:gd name="connsiteX5" fmla="*/ 1327842 w 1432874"/>
              <a:gd name="connsiteY5" fmla="*/ 630180 h 630763"/>
              <a:gd name="connsiteX6" fmla="*/ 105032 w 1432874"/>
              <a:gd name="connsiteY6" fmla="*/ 630180 h 630763"/>
              <a:gd name="connsiteX7" fmla="*/ 0 w 1432874"/>
              <a:gd name="connsiteY7" fmla="*/ 581709 h 630763"/>
              <a:gd name="connsiteX8" fmla="*/ 0 w 1432874"/>
              <a:gd name="connsiteY8" fmla="*/ 105032 h 630763"/>
              <a:gd name="connsiteX0" fmla="*/ 0 w 1432874"/>
              <a:gd name="connsiteY0" fmla="*/ 105032 h 642292"/>
              <a:gd name="connsiteX1" fmla="*/ 105032 w 1432874"/>
              <a:gd name="connsiteY1" fmla="*/ 0 h 642292"/>
              <a:gd name="connsiteX2" fmla="*/ 1327842 w 1432874"/>
              <a:gd name="connsiteY2" fmla="*/ 0 h 642292"/>
              <a:gd name="connsiteX3" fmla="*/ 1432874 w 1432874"/>
              <a:gd name="connsiteY3" fmla="*/ 105032 h 642292"/>
              <a:gd name="connsiteX4" fmla="*/ 1432874 w 1432874"/>
              <a:gd name="connsiteY4" fmla="*/ 609989 h 642292"/>
              <a:gd name="connsiteX5" fmla="*/ 1327842 w 1432874"/>
              <a:gd name="connsiteY5" fmla="*/ 630180 h 642292"/>
              <a:gd name="connsiteX6" fmla="*/ 105032 w 1432874"/>
              <a:gd name="connsiteY6" fmla="*/ 630180 h 642292"/>
              <a:gd name="connsiteX7" fmla="*/ 0 w 1432874"/>
              <a:gd name="connsiteY7" fmla="*/ 581709 h 642292"/>
              <a:gd name="connsiteX8" fmla="*/ 0 w 1432874"/>
              <a:gd name="connsiteY8" fmla="*/ 105032 h 6422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32874" h="642292">
                <a:moveTo>
                  <a:pt x="0" y="105032"/>
                </a:moveTo>
                <a:cubicBezTo>
                  <a:pt x="0" y="47024"/>
                  <a:pt x="47024" y="0"/>
                  <a:pt x="105032" y="0"/>
                </a:cubicBezTo>
                <a:lnTo>
                  <a:pt x="1327842" y="0"/>
                </a:lnTo>
                <a:cubicBezTo>
                  <a:pt x="1385850" y="0"/>
                  <a:pt x="1432874" y="47024"/>
                  <a:pt x="1432874" y="105032"/>
                </a:cubicBezTo>
                <a:lnTo>
                  <a:pt x="1432874" y="609989"/>
                </a:lnTo>
                <a:cubicBezTo>
                  <a:pt x="1432874" y="667997"/>
                  <a:pt x="1385850" y="630180"/>
                  <a:pt x="1327842" y="630180"/>
                </a:cubicBezTo>
                <a:lnTo>
                  <a:pt x="105032" y="630180"/>
                </a:lnTo>
                <a:cubicBezTo>
                  <a:pt x="47024" y="630180"/>
                  <a:pt x="0" y="639717"/>
                  <a:pt x="0" y="581709"/>
                </a:cubicBezTo>
                <a:lnTo>
                  <a:pt x="0" y="10503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1107A4B-4BB7-4A52-838C-6AF7471A690E}"/>
              </a:ext>
            </a:extLst>
          </p:cNvPr>
          <p:cNvSpPr txBox="1"/>
          <p:nvPr/>
        </p:nvSpPr>
        <p:spPr>
          <a:xfrm>
            <a:off x="407368" y="390027"/>
            <a:ext cx="198323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400" dirty="0" smtClean="0">
                <a:latin typeface="나눔스퀘어라운드 Bold" pitchFamily="50" charset="-127"/>
                <a:ea typeface="나눔스퀘어라운드 Bold" pitchFamily="50" charset="-127"/>
              </a:rPr>
              <a:t>코드</a:t>
            </a:r>
            <a:r>
              <a:rPr lang="en-US" altLang="ko-KR" sz="2400" dirty="0" smtClean="0">
                <a:latin typeface="나눔스퀘어라운드 Bold" pitchFamily="50" charset="-127"/>
                <a:ea typeface="나눔스퀘어라운드 Bold" pitchFamily="50" charset="-127"/>
              </a:rPr>
              <a:t>1(</a:t>
            </a:r>
            <a:r>
              <a:rPr lang="ko-KR" altLang="en-US" sz="2400" dirty="0" err="1" smtClean="0">
                <a:latin typeface="나눔스퀘어라운드 Bold" pitchFamily="50" charset="-127"/>
                <a:ea typeface="나눔스퀘어라운드 Bold" pitchFamily="50" charset="-127"/>
              </a:rPr>
              <a:t>퀵정렬</a:t>
            </a:r>
            <a:r>
              <a:rPr lang="en-US" altLang="ko-KR" sz="2400" dirty="0" smtClean="0">
                <a:latin typeface="나눔스퀘어라운드 Bold" pitchFamily="50" charset="-127"/>
                <a:ea typeface="나눔스퀘어라운드 Bold" pitchFamily="50" charset="-127"/>
              </a:rPr>
              <a:t>)</a:t>
            </a:r>
            <a:endParaRPr lang="ko-KR" altLang="en-US" sz="2400" dirty="0"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pic>
        <p:nvPicPr>
          <p:cNvPr id="17" name="그림 1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0221"/>
          <a:stretch/>
        </p:blipFill>
        <p:spPr>
          <a:xfrm>
            <a:off x="428437" y="1133439"/>
            <a:ext cx="7268589" cy="3006510"/>
          </a:xfrm>
          <a:prstGeom prst="rect">
            <a:avLst/>
          </a:prstGeom>
        </p:spPr>
      </p:pic>
      <p:pic>
        <p:nvPicPr>
          <p:cNvPr id="3" name="그림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385" r="19837"/>
          <a:stretch/>
        </p:blipFill>
        <p:spPr>
          <a:xfrm>
            <a:off x="6706537" y="4139125"/>
            <a:ext cx="4556688" cy="2249014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7294928" y="1367632"/>
            <a:ext cx="370301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500" dirty="0" err="1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재귀호출을</a:t>
            </a:r>
            <a:r>
              <a:rPr lang="ko-KR" altLang="en-US" sz="15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 하지 않고</a:t>
            </a:r>
            <a:r>
              <a:rPr lang="en-US" altLang="ko-KR" sz="15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,</a:t>
            </a:r>
          </a:p>
          <a:p>
            <a:pPr algn="ctr"/>
            <a:r>
              <a:rPr lang="en-US" altLang="ko-KR" sz="15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Pivot</a:t>
            </a:r>
            <a:r>
              <a:rPr lang="ko-KR" altLang="en-US" sz="15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의 인덱스를 찾는 용도</a:t>
            </a:r>
            <a:endParaRPr lang="ko-KR" altLang="en-US" sz="1500" dirty="0">
              <a:latin typeface="12롯데마트드림Medium" panose="02020603020101020101" pitchFamily="18" charset="-127"/>
              <a:ea typeface="12롯데마트드림Medium" panose="02020603020101020101" pitchFamily="18" charset="-127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412706" y="4355577"/>
            <a:ext cx="4377200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5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임의로 배열 맨 뒤에 </a:t>
            </a:r>
            <a:r>
              <a:rPr lang="en-US" altLang="ko-KR" sz="1500" dirty="0" err="1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num</a:t>
            </a:r>
            <a:r>
              <a:rPr lang="ko-KR" altLang="en-US" sz="15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을 넣어서</a:t>
            </a:r>
            <a:endParaRPr lang="en-US" altLang="ko-KR" sz="1500" dirty="0" smtClean="0">
              <a:latin typeface="12롯데마트드림Medium" panose="02020603020101020101" pitchFamily="18" charset="-127"/>
              <a:ea typeface="12롯데마트드림Medium" panose="02020603020101020101" pitchFamily="18" charset="-127"/>
            </a:endParaRPr>
          </a:p>
          <a:p>
            <a:pPr algn="ctr"/>
            <a:r>
              <a:rPr lang="en-US" altLang="ko-KR" sz="1500" dirty="0" err="1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n</a:t>
            </a:r>
            <a:r>
              <a:rPr lang="en-US" altLang="ko-KR" sz="1500" dirty="0" err="1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um</a:t>
            </a:r>
            <a:r>
              <a:rPr lang="ko-KR" altLang="en-US" sz="15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이 </a:t>
            </a:r>
            <a:r>
              <a:rPr lang="en-US" altLang="ko-KR" sz="15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pivot</a:t>
            </a:r>
            <a:r>
              <a:rPr lang="ko-KR" altLang="en-US" sz="15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이 되게 하기</a:t>
            </a:r>
            <a:r>
              <a:rPr lang="en-US" altLang="ko-KR" sz="15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.</a:t>
            </a:r>
          </a:p>
          <a:p>
            <a:pPr algn="ctr"/>
            <a:r>
              <a:rPr lang="ko-KR" altLang="en-US" sz="15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그 후 </a:t>
            </a:r>
            <a:r>
              <a:rPr lang="en-US" altLang="ko-KR" sz="1500" dirty="0" err="1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num</a:t>
            </a:r>
            <a:r>
              <a:rPr lang="ko-KR" altLang="en-US" sz="15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을 삭제하기 위해 배열 </a:t>
            </a:r>
            <a:r>
              <a:rPr lang="en-US" altLang="ko-KR" sz="15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1</a:t>
            </a:r>
            <a:r>
              <a:rPr lang="ko-KR" altLang="en-US" sz="15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칸씩 앞으로 이동</a:t>
            </a:r>
            <a:endParaRPr lang="ko-KR" altLang="en-US" sz="1500" dirty="0">
              <a:latin typeface="12롯데마트드림Medium" panose="02020603020101020101" pitchFamily="18" charset="-127"/>
              <a:ea typeface="12롯데마트드림Medium" panose="02020603020101020101" pitchFamily="18" charset="-127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7441758" y="2857093"/>
            <a:ext cx="340934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5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기존의 </a:t>
            </a:r>
            <a:r>
              <a:rPr lang="ko-KR" altLang="en-US" sz="1500" dirty="0" err="1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퀵정렬과</a:t>
            </a:r>
            <a:r>
              <a:rPr lang="ko-KR" altLang="en-US" sz="15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 같은 함수</a:t>
            </a:r>
            <a:endParaRPr lang="ko-KR" altLang="en-US" sz="1500" dirty="0">
              <a:latin typeface="12롯데마트드림Medium" panose="02020603020101020101" pitchFamily="18" charset="-127"/>
              <a:ea typeface="12롯데마트드림Medium" panose="02020603020101020101" pitchFamily="18" charset="-127"/>
            </a:endParaRPr>
          </a:p>
        </p:txBody>
      </p:sp>
      <p:sp>
        <p:nvSpPr>
          <p:cNvPr id="21" name="직사각형 20"/>
          <p:cNvSpPr/>
          <p:nvPr/>
        </p:nvSpPr>
        <p:spPr>
          <a:xfrm>
            <a:off x="1362944" y="5271450"/>
            <a:ext cx="4332618" cy="2160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1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12롯데마트드림Medium" panose="02020603020101020101" pitchFamily="18" charset="-127"/>
              <a:ea typeface="12롯데마트드림Medium" panose="02020603020101020101" pitchFamily="18" charset="-127"/>
            </a:endParaRPr>
          </a:p>
        </p:txBody>
      </p:sp>
      <p:sp>
        <p:nvSpPr>
          <p:cNvPr id="22" name="직사각형 21"/>
          <p:cNvSpPr/>
          <p:nvPr/>
        </p:nvSpPr>
        <p:spPr>
          <a:xfrm>
            <a:off x="3081027" y="5433583"/>
            <a:ext cx="151455" cy="53214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1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12롯데마트드림Medium" panose="02020603020101020101" pitchFamily="18" charset="-127"/>
              <a:ea typeface="12롯데마트드림Medium" panose="02020603020101020101" pitchFamily="18" charset="-127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230828" y="6012392"/>
            <a:ext cx="17644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dirty="0" err="1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num</a:t>
            </a:r>
            <a:r>
              <a:rPr lang="en-US" altLang="ko-KR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(pivot</a:t>
            </a:r>
            <a:r>
              <a:rPr lang="ko-KR" altLang="en-US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이 됨</a:t>
            </a:r>
            <a:r>
              <a:rPr lang="en-US" altLang="ko-KR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)</a:t>
            </a:r>
            <a:endParaRPr lang="ko-KR" altLang="en-US" dirty="0">
              <a:latin typeface="12롯데마트드림Medium" panose="02020603020101020101" pitchFamily="18" charset="-127"/>
              <a:ea typeface="12롯데마트드림Medium" panose="02020603020101020101" pitchFamily="18" charset="-127"/>
            </a:endParaRPr>
          </a:p>
        </p:txBody>
      </p:sp>
      <p:sp>
        <p:nvSpPr>
          <p:cNvPr id="4" name="왼쪽 화살표 3"/>
          <p:cNvSpPr/>
          <p:nvPr/>
        </p:nvSpPr>
        <p:spPr>
          <a:xfrm>
            <a:off x="3081028" y="5600052"/>
            <a:ext cx="288032" cy="216024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8" name="왼쪽 화살표 27"/>
          <p:cNvSpPr/>
          <p:nvPr/>
        </p:nvSpPr>
        <p:spPr>
          <a:xfrm>
            <a:off x="3387333" y="5600052"/>
            <a:ext cx="288032" cy="216024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9" name="왼쪽 화살표 28"/>
          <p:cNvSpPr/>
          <p:nvPr/>
        </p:nvSpPr>
        <p:spPr>
          <a:xfrm>
            <a:off x="3694851" y="5600052"/>
            <a:ext cx="288032" cy="216024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0" name="왼쪽 화살표 29"/>
          <p:cNvSpPr/>
          <p:nvPr/>
        </p:nvSpPr>
        <p:spPr>
          <a:xfrm>
            <a:off x="3995269" y="5600052"/>
            <a:ext cx="288032" cy="216024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1" name="왼쪽 화살표 30"/>
          <p:cNvSpPr/>
          <p:nvPr/>
        </p:nvSpPr>
        <p:spPr>
          <a:xfrm>
            <a:off x="4301040" y="5600052"/>
            <a:ext cx="288032" cy="216024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2" name="왼쪽 화살표 31"/>
          <p:cNvSpPr/>
          <p:nvPr/>
        </p:nvSpPr>
        <p:spPr>
          <a:xfrm>
            <a:off x="4608695" y="5600052"/>
            <a:ext cx="288032" cy="216024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3" name="왼쪽 화살표 32"/>
          <p:cNvSpPr/>
          <p:nvPr/>
        </p:nvSpPr>
        <p:spPr>
          <a:xfrm>
            <a:off x="4916350" y="5600052"/>
            <a:ext cx="288032" cy="216024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4" name="왼쪽 화살표 33"/>
          <p:cNvSpPr/>
          <p:nvPr/>
        </p:nvSpPr>
        <p:spPr>
          <a:xfrm>
            <a:off x="5224005" y="5600052"/>
            <a:ext cx="288032" cy="216024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00DB5B6-C5B5-44A3-B302-24026388148B}"/>
              </a:ext>
            </a:extLst>
          </p:cNvPr>
          <p:cNvSpPr txBox="1"/>
          <p:nvPr/>
        </p:nvSpPr>
        <p:spPr>
          <a:xfrm>
            <a:off x="5665434" y="482360"/>
            <a:ext cx="803425" cy="369332"/>
          </a:xfrm>
          <a:prstGeom prst="rect">
            <a:avLst/>
          </a:prstGeom>
          <a:solidFill>
            <a:schemeClr val="tx2"/>
          </a:solidFill>
        </p:spPr>
        <p:txBody>
          <a:bodyPr wrap="none" rtlCol="0">
            <a:spAutoFit/>
          </a:bodyPr>
          <a:lstStyle/>
          <a:p>
            <a:r>
              <a:rPr lang="ko-KR" altLang="en-US" dirty="0" smtClean="0">
                <a:solidFill>
                  <a:schemeClr val="bg1"/>
                </a:solidFill>
                <a:latin typeface="나눔스퀘어라운드 Bold" pitchFamily="50" charset="-127"/>
                <a:ea typeface="나눔스퀘어라운드 Bold" pitchFamily="50" charset="-127"/>
              </a:rPr>
              <a:t>코드</a:t>
            </a:r>
            <a:r>
              <a:rPr lang="en-US" altLang="ko-KR" dirty="0">
                <a:solidFill>
                  <a:schemeClr val="bg1"/>
                </a:solidFill>
                <a:latin typeface="나눔스퀘어라운드 Bold" pitchFamily="50" charset="-127"/>
                <a:ea typeface="나눔스퀘어라운드 Bold" pitchFamily="50" charset="-127"/>
              </a:rPr>
              <a:t> </a:t>
            </a:r>
            <a:r>
              <a:rPr lang="en-US" altLang="ko-KR" dirty="0" smtClean="0">
                <a:solidFill>
                  <a:schemeClr val="bg1"/>
                </a:solidFill>
                <a:latin typeface="나눔스퀘어라운드 Bold" pitchFamily="50" charset="-127"/>
                <a:ea typeface="나눔스퀘어라운드 Bold" pitchFamily="50" charset="-127"/>
              </a:rPr>
              <a:t>1</a:t>
            </a:r>
            <a:endParaRPr lang="ko-KR" altLang="en-US" dirty="0">
              <a:solidFill>
                <a:schemeClr val="bg1"/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CA63D2C7-D237-4D03-93FC-181A62B8AB20}"/>
              </a:ext>
            </a:extLst>
          </p:cNvPr>
          <p:cNvSpPr txBox="1"/>
          <p:nvPr/>
        </p:nvSpPr>
        <p:spPr>
          <a:xfrm>
            <a:off x="6760327" y="482360"/>
            <a:ext cx="8034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smtClean="0">
                <a:solidFill>
                  <a:schemeClr val="bg1">
                    <a:lumMod val="6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코드</a:t>
            </a:r>
            <a:r>
              <a:rPr lang="en-US" altLang="ko-KR" dirty="0">
                <a:solidFill>
                  <a:schemeClr val="bg1">
                    <a:lumMod val="6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 </a:t>
            </a:r>
            <a:r>
              <a:rPr lang="en-US" altLang="ko-KR" dirty="0" smtClean="0">
                <a:solidFill>
                  <a:schemeClr val="bg1">
                    <a:lumMod val="6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2</a:t>
            </a:r>
            <a:endParaRPr lang="ko-KR" altLang="en-US" dirty="0">
              <a:solidFill>
                <a:schemeClr val="bg1">
                  <a:lumMod val="65000"/>
                </a:schemeClr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FC7FBA5-4B58-410D-915A-64CEC33921CB}"/>
              </a:ext>
            </a:extLst>
          </p:cNvPr>
          <p:cNvSpPr txBox="1"/>
          <p:nvPr/>
        </p:nvSpPr>
        <p:spPr>
          <a:xfrm>
            <a:off x="7855220" y="482360"/>
            <a:ext cx="8146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smtClean="0">
                <a:solidFill>
                  <a:schemeClr val="bg1">
                    <a:lumMod val="6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무결성</a:t>
            </a:r>
            <a:endParaRPr lang="ko-KR" altLang="en-US" dirty="0">
              <a:solidFill>
                <a:schemeClr val="bg1">
                  <a:lumMod val="65000"/>
                </a:schemeClr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BA0ABCF-FD1D-4D14-A862-20A7E806931B}"/>
              </a:ext>
            </a:extLst>
          </p:cNvPr>
          <p:cNvSpPr txBox="1"/>
          <p:nvPr/>
        </p:nvSpPr>
        <p:spPr>
          <a:xfrm>
            <a:off x="8950112" y="482360"/>
            <a:ext cx="10246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err="1" smtClean="0">
                <a:solidFill>
                  <a:schemeClr val="bg1">
                    <a:lumMod val="6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시간효율</a:t>
            </a:r>
            <a:endParaRPr lang="ko-KR" altLang="en-US" dirty="0">
              <a:solidFill>
                <a:schemeClr val="bg1">
                  <a:lumMod val="65000"/>
                </a:schemeClr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93641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직사각형 14"/>
          <p:cNvSpPr/>
          <p:nvPr/>
        </p:nvSpPr>
        <p:spPr>
          <a:xfrm>
            <a:off x="266831" y="260648"/>
            <a:ext cx="11658337" cy="6336704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사각형: 둥근 모서리 5">
            <a:extLst>
              <a:ext uri="{FF2B5EF4-FFF2-40B4-BE49-F238E27FC236}">
                <a16:creationId xmlns:a16="http://schemas.microsoft.com/office/drawing/2014/main" id="{AF2E363F-20BC-436E-9A7E-C4ED80984A4A}"/>
              </a:ext>
            </a:extLst>
          </p:cNvPr>
          <p:cNvSpPr/>
          <p:nvPr/>
        </p:nvSpPr>
        <p:spPr>
          <a:xfrm>
            <a:off x="6600057" y="428647"/>
            <a:ext cx="1125545" cy="476759"/>
          </a:xfrm>
          <a:custGeom>
            <a:avLst/>
            <a:gdLst>
              <a:gd name="connsiteX0" fmla="*/ 0 w 1432874"/>
              <a:gd name="connsiteY0" fmla="*/ 105032 h 630180"/>
              <a:gd name="connsiteX1" fmla="*/ 105032 w 1432874"/>
              <a:gd name="connsiteY1" fmla="*/ 0 h 630180"/>
              <a:gd name="connsiteX2" fmla="*/ 1327842 w 1432874"/>
              <a:gd name="connsiteY2" fmla="*/ 0 h 630180"/>
              <a:gd name="connsiteX3" fmla="*/ 1432874 w 1432874"/>
              <a:gd name="connsiteY3" fmla="*/ 105032 h 630180"/>
              <a:gd name="connsiteX4" fmla="*/ 1432874 w 1432874"/>
              <a:gd name="connsiteY4" fmla="*/ 525148 h 630180"/>
              <a:gd name="connsiteX5" fmla="*/ 1327842 w 1432874"/>
              <a:gd name="connsiteY5" fmla="*/ 630180 h 630180"/>
              <a:gd name="connsiteX6" fmla="*/ 105032 w 1432874"/>
              <a:gd name="connsiteY6" fmla="*/ 630180 h 630180"/>
              <a:gd name="connsiteX7" fmla="*/ 0 w 1432874"/>
              <a:gd name="connsiteY7" fmla="*/ 525148 h 630180"/>
              <a:gd name="connsiteX8" fmla="*/ 0 w 1432874"/>
              <a:gd name="connsiteY8" fmla="*/ 105032 h 630180"/>
              <a:gd name="connsiteX0" fmla="*/ 0 w 1432874"/>
              <a:gd name="connsiteY0" fmla="*/ 105032 h 630763"/>
              <a:gd name="connsiteX1" fmla="*/ 105032 w 1432874"/>
              <a:gd name="connsiteY1" fmla="*/ 0 h 630763"/>
              <a:gd name="connsiteX2" fmla="*/ 1327842 w 1432874"/>
              <a:gd name="connsiteY2" fmla="*/ 0 h 630763"/>
              <a:gd name="connsiteX3" fmla="*/ 1432874 w 1432874"/>
              <a:gd name="connsiteY3" fmla="*/ 105032 h 630763"/>
              <a:gd name="connsiteX4" fmla="*/ 1432874 w 1432874"/>
              <a:gd name="connsiteY4" fmla="*/ 525148 h 630763"/>
              <a:gd name="connsiteX5" fmla="*/ 1327842 w 1432874"/>
              <a:gd name="connsiteY5" fmla="*/ 630180 h 630763"/>
              <a:gd name="connsiteX6" fmla="*/ 105032 w 1432874"/>
              <a:gd name="connsiteY6" fmla="*/ 630180 h 630763"/>
              <a:gd name="connsiteX7" fmla="*/ 0 w 1432874"/>
              <a:gd name="connsiteY7" fmla="*/ 581709 h 630763"/>
              <a:gd name="connsiteX8" fmla="*/ 0 w 1432874"/>
              <a:gd name="connsiteY8" fmla="*/ 105032 h 630763"/>
              <a:gd name="connsiteX0" fmla="*/ 0 w 1432874"/>
              <a:gd name="connsiteY0" fmla="*/ 105032 h 642292"/>
              <a:gd name="connsiteX1" fmla="*/ 105032 w 1432874"/>
              <a:gd name="connsiteY1" fmla="*/ 0 h 642292"/>
              <a:gd name="connsiteX2" fmla="*/ 1327842 w 1432874"/>
              <a:gd name="connsiteY2" fmla="*/ 0 h 642292"/>
              <a:gd name="connsiteX3" fmla="*/ 1432874 w 1432874"/>
              <a:gd name="connsiteY3" fmla="*/ 105032 h 642292"/>
              <a:gd name="connsiteX4" fmla="*/ 1432874 w 1432874"/>
              <a:gd name="connsiteY4" fmla="*/ 609989 h 642292"/>
              <a:gd name="connsiteX5" fmla="*/ 1327842 w 1432874"/>
              <a:gd name="connsiteY5" fmla="*/ 630180 h 642292"/>
              <a:gd name="connsiteX6" fmla="*/ 105032 w 1432874"/>
              <a:gd name="connsiteY6" fmla="*/ 630180 h 642292"/>
              <a:gd name="connsiteX7" fmla="*/ 0 w 1432874"/>
              <a:gd name="connsiteY7" fmla="*/ 581709 h 642292"/>
              <a:gd name="connsiteX8" fmla="*/ 0 w 1432874"/>
              <a:gd name="connsiteY8" fmla="*/ 105032 h 6422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32874" h="642292">
                <a:moveTo>
                  <a:pt x="0" y="105032"/>
                </a:moveTo>
                <a:cubicBezTo>
                  <a:pt x="0" y="47024"/>
                  <a:pt x="47024" y="0"/>
                  <a:pt x="105032" y="0"/>
                </a:cubicBezTo>
                <a:lnTo>
                  <a:pt x="1327842" y="0"/>
                </a:lnTo>
                <a:cubicBezTo>
                  <a:pt x="1385850" y="0"/>
                  <a:pt x="1432874" y="47024"/>
                  <a:pt x="1432874" y="105032"/>
                </a:cubicBezTo>
                <a:lnTo>
                  <a:pt x="1432874" y="609989"/>
                </a:lnTo>
                <a:cubicBezTo>
                  <a:pt x="1432874" y="667997"/>
                  <a:pt x="1385850" y="630180"/>
                  <a:pt x="1327842" y="630180"/>
                </a:cubicBezTo>
                <a:lnTo>
                  <a:pt x="105032" y="630180"/>
                </a:lnTo>
                <a:cubicBezTo>
                  <a:pt x="47024" y="630180"/>
                  <a:pt x="0" y="639717"/>
                  <a:pt x="0" y="581709"/>
                </a:cubicBezTo>
                <a:lnTo>
                  <a:pt x="0" y="10503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1107A4B-4BB7-4A52-838C-6AF7471A690E}"/>
              </a:ext>
            </a:extLst>
          </p:cNvPr>
          <p:cNvSpPr txBox="1"/>
          <p:nvPr/>
        </p:nvSpPr>
        <p:spPr>
          <a:xfrm>
            <a:off x="523097" y="365571"/>
            <a:ext cx="459613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400" dirty="0" smtClean="0">
                <a:latin typeface="나눔스퀘어라운드 Bold" pitchFamily="50" charset="-127"/>
                <a:ea typeface="나눔스퀘어라운드 Bold" pitchFamily="50" charset="-127"/>
              </a:rPr>
              <a:t>코드</a:t>
            </a:r>
            <a:r>
              <a:rPr lang="en-US" altLang="ko-KR" sz="2400" dirty="0" smtClean="0">
                <a:latin typeface="나눔스퀘어라운드 Bold" pitchFamily="50" charset="-127"/>
                <a:ea typeface="나눔스퀘어라운드 Bold" pitchFamily="50" charset="-127"/>
              </a:rPr>
              <a:t>2(</a:t>
            </a:r>
            <a:r>
              <a:rPr lang="ko-KR" altLang="en-US" sz="2400" dirty="0" err="1" smtClean="0">
                <a:latin typeface="나눔스퀘어라운드 Bold" pitchFamily="50" charset="-127"/>
                <a:ea typeface="나눔스퀘어라운드 Bold" pitchFamily="50" charset="-127"/>
              </a:rPr>
              <a:t>선택문제</a:t>
            </a:r>
            <a:r>
              <a:rPr lang="en-US" altLang="ko-KR" sz="2400" dirty="0" smtClean="0">
                <a:latin typeface="나눔스퀘어라운드 Bold" pitchFamily="50" charset="-127"/>
                <a:ea typeface="나눔스퀘어라운드 Bold" pitchFamily="50" charset="-127"/>
              </a:rPr>
              <a:t>+</a:t>
            </a:r>
            <a:r>
              <a:rPr lang="ko-KR" altLang="en-US" sz="2400" dirty="0" err="1" smtClean="0">
                <a:latin typeface="나눔스퀘어라운드 Bold" pitchFamily="50" charset="-127"/>
                <a:ea typeface="나눔스퀘어라운드 Bold" pitchFamily="50" charset="-127"/>
              </a:rPr>
              <a:t>퀵정렬</a:t>
            </a:r>
            <a:r>
              <a:rPr lang="en-US" altLang="ko-KR" sz="2400" dirty="0" smtClean="0">
                <a:latin typeface="나눔스퀘어라운드 Bold" pitchFamily="50" charset="-127"/>
                <a:ea typeface="나눔스퀘어라운드 Bold" pitchFamily="50" charset="-127"/>
              </a:rPr>
              <a:t>+</a:t>
            </a:r>
            <a:r>
              <a:rPr lang="ko-KR" altLang="en-US" sz="2400" dirty="0" err="1" smtClean="0">
                <a:latin typeface="나눔스퀘어라운드 Bold" pitchFamily="50" charset="-127"/>
                <a:ea typeface="나눔스퀘어라운드 Bold" pitchFamily="50" charset="-127"/>
              </a:rPr>
              <a:t>선택정렬</a:t>
            </a:r>
            <a:r>
              <a:rPr lang="en-US" altLang="ko-KR" sz="2400" dirty="0" smtClean="0">
                <a:latin typeface="나눔스퀘어라운드 Bold" pitchFamily="50" charset="-127"/>
                <a:ea typeface="나눔스퀘어라운드 Bold" pitchFamily="50" charset="-127"/>
              </a:rPr>
              <a:t>)</a:t>
            </a:r>
            <a:endParaRPr lang="ko-KR" altLang="en-US" sz="2400" dirty="0"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DB16BA56-10B6-44A3-8D21-A352905D37A4}"/>
              </a:ext>
            </a:extLst>
          </p:cNvPr>
          <p:cNvSpPr/>
          <p:nvPr/>
        </p:nvSpPr>
        <p:spPr>
          <a:xfrm>
            <a:off x="266830" y="892406"/>
            <a:ext cx="11658337" cy="667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097" y="1157071"/>
            <a:ext cx="11145805" cy="3181794"/>
          </a:xfrm>
          <a:prstGeom prst="rect">
            <a:avLst/>
          </a:prstGeom>
        </p:spPr>
      </p:pic>
      <p:sp>
        <p:nvSpPr>
          <p:cNvPr id="19" name="직사각형 18"/>
          <p:cNvSpPr/>
          <p:nvPr/>
        </p:nvSpPr>
        <p:spPr>
          <a:xfrm>
            <a:off x="2285533" y="4702763"/>
            <a:ext cx="7679577" cy="2160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1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12롯데마트드림Medium" panose="02020603020101020101" pitchFamily="18" charset="-127"/>
              <a:ea typeface="12롯데마트드림Medium" panose="02020603020101020101" pitchFamily="18" charset="-127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4330572" y="4878380"/>
            <a:ext cx="152069" cy="100786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1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12롯데마트드림Medium" panose="02020603020101020101" pitchFamily="18" charset="-127"/>
              <a:ea typeface="12롯데마트드림Medium" panose="02020603020101020101" pitchFamily="18" charset="-127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3784883" y="5956307"/>
            <a:ext cx="12369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p_30</a:t>
            </a:r>
            <a:endParaRPr lang="ko-KR" altLang="en-US" dirty="0">
              <a:latin typeface="12롯데마트드림Medium" panose="02020603020101020101" pitchFamily="18" charset="-127"/>
              <a:ea typeface="12롯데마트드림Medium" panose="02020603020101020101" pitchFamily="18" charset="-127"/>
            </a:endParaRPr>
          </a:p>
        </p:txBody>
      </p:sp>
      <p:sp>
        <p:nvSpPr>
          <p:cNvPr id="22" name="왼쪽/오른쪽 화살표 21"/>
          <p:cNvSpPr/>
          <p:nvPr/>
        </p:nvSpPr>
        <p:spPr>
          <a:xfrm>
            <a:off x="2820908" y="4953676"/>
            <a:ext cx="7169557" cy="249131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12롯데마트드림Medium" panose="02020603020101020101" pitchFamily="18" charset="-127"/>
              <a:ea typeface="12롯데마트드림Medium" panose="02020603020101020101" pitchFamily="18" charset="-127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983432" y="4426079"/>
            <a:ext cx="6671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1</a:t>
            </a:r>
            <a:endParaRPr lang="ko-KR" altLang="en-US" sz="1200" dirty="0">
              <a:latin typeface="12롯데마트드림Medium" panose="02020603020101020101" pitchFamily="18" charset="-127"/>
              <a:ea typeface="12롯데마트드림Medium" panose="02020603020101020101" pitchFamily="18" charset="-127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9274675" y="4365104"/>
            <a:ext cx="13164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n-1=</a:t>
            </a:r>
            <a:r>
              <a:rPr lang="ko-KR" altLang="en-US" sz="12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상위</a:t>
            </a:r>
            <a:r>
              <a:rPr lang="en-US" altLang="ko-KR" sz="12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1</a:t>
            </a:r>
            <a:r>
              <a:rPr lang="ko-KR" altLang="en-US" sz="12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등</a:t>
            </a:r>
            <a:endParaRPr lang="ko-KR" altLang="en-US" sz="1200" dirty="0">
              <a:latin typeface="12롯데마트드림Medium" panose="02020603020101020101" pitchFamily="18" charset="-127"/>
              <a:ea typeface="12롯데마트드림Medium" panose="02020603020101020101" pitchFamily="18" charset="-127"/>
            </a:endParaRPr>
          </a:p>
        </p:txBody>
      </p:sp>
      <p:sp>
        <p:nvSpPr>
          <p:cNvPr id="32" name="직사각형 31"/>
          <p:cNvSpPr/>
          <p:nvPr/>
        </p:nvSpPr>
        <p:spPr>
          <a:xfrm>
            <a:off x="2615199" y="4913549"/>
            <a:ext cx="152069" cy="100786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1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12롯데마트드림Medium" panose="02020603020101020101" pitchFamily="18" charset="-127"/>
              <a:ea typeface="12롯데마트드림Medium" panose="02020603020101020101" pitchFamily="18" charset="-127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2069510" y="5956307"/>
            <a:ext cx="12369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p_avg2</a:t>
            </a:r>
            <a:endParaRPr lang="ko-KR" altLang="en-US" dirty="0">
              <a:latin typeface="12롯데마트드림Medium" panose="02020603020101020101" pitchFamily="18" charset="-127"/>
              <a:ea typeface="12롯데마트드림Medium" panose="02020603020101020101" pitchFamily="18" charset="-127"/>
            </a:endParaRPr>
          </a:p>
        </p:txBody>
      </p:sp>
      <p:sp>
        <p:nvSpPr>
          <p:cNvPr id="34" name="직사각형 33"/>
          <p:cNvSpPr/>
          <p:nvPr/>
        </p:nvSpPr>
        <p:spPr>
          <a:xfrm>
            <a:off x="5927567" y="4878380"/>
            <a:ext cx="152069" cy="100786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1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12롯데마트드림Medium" panose="02020603020101020101" pitchFamily="18" charset="-127"/>
              <a:ea typeface="12롯데마트드림Medium" panose="02020603020101020101" pitchFamily="18" charset="-127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5381878" y="5956307"/>
            <a:ext cx="12369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p_20</a:t>
            </a:r>
            <a:endParaRPr lang="ko-KR" altLang="en-US" dirty="0">
              <a:latin typeface="12롯데마트드림Medium" panose="02020603020101020101" pitchFamily="18" charset="-127"/>
              <a:ea typeface="12롯데마트드림Medium" panose="02020603020101020101" pitchFamily="18" charset="-127"/>
            </a:endParaRPr>
          </a:p>
        </p:txBody>
      </p:sp>
      <p:sp>
        <p:nvSpPr>
          <p:cNvPr id="36" name="직사각형 35"/>
          <p:cNvSpPr/>
          <p:nvPr/>
        </p:nvSpPr>
        <p:spPr>
          <a:xfrm>
            <a:off x="7456213" y="4878380"/>
            <a:ext cx="152069" cy="100786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1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12롯데마트드림Medium" panose="02020603020101020101" pitchFamily="18" charset="-127"/>
              <a:ea typeface="12롯데마트드림Medium" panose="02020603020101020101" pitchFamily="18" charset="-127"/>
            </a:endParaRPr>
          </a:p>
        </p:txBody>
      </p:sp>
      <p:sp>
        <p:nvSpPr>
          <p:cNvPr id="38" name="직사각형 37"/>
          <p:cNvSpPr/>
          <p:nvPr/>
        </p:nvSpPr>
        <p:spPr>
          <a:xfrm>
            <a:off x="8735879" y="4878380"/>
            <a:ext cx="152069" cy="100786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1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12롯데마트드림Medium" panose="02020603020101020101" pitchFamily="18" charset="-127"/>
              <a:ea typeface="12롯데마트드림Medium" panose="02020603020101020101" pitchFamily="18" charset="-127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8190190" y="5956307"/>
            <a:ext cx="12369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p_10th</a:t>
            </a:r>
            <a:endParaRPr lang="ko-KR" altLang="en-US" dirty="0">
              <a:latin typeface="12롯데마트드림Medium" panose="02020603020101020101" pitchFamily="18" charset="-127"/>
              <a:ea typeface="12롯데마트드림Medium" panose="02020603020101020101" pitchFamily="18" charset="-127"/>
            </a:endParaRPr>
          </a:p>
        </p:txBody>
      </p:sp>
      <p:sp>
        <p:nvSpPr>
          <p:cNvPr id="40" name="직사각형 39"/>
          <p:cNvSpPr/>
          <p:nvPr/>
        </p:nvSpPr>
        <p:spPr>
          <a:xfrm>
            <a:off x="9455959" y="4878380"/>
            <a:ext cx="152069" cy="100786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1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12롯데마트드림Medium" panose="02020603020101020101" pitchFamily="18" charset="-127"/>
              <a:ea typeface="12롯데마트드림Medium" panose="02020603020101020101" pitchFamily="18" charset="-127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8910270" y="5956307"/>
            <a:ext cx="12369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p_6th</a:t>
            </a:r>
            <a:endParaRPr lang="ko-KR" altLang="en-US" dirty="0">
              <a:latin typeface="12롯데마트드림Medium" panose="02020603020101020101" pitchFamily="18" charset="-127"/>
              <a:ea typeface="12롯데마트드림Medium" panose="02020603020101020101" pitchFamily="18" charset="-127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6894046" y="5956307"/>
            <a:ext cx="12369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p_10</a:t>
            </a:r>
            <a:endParaRPr lang="ko-KR" altLang="en-US" dirty="0">
              <a:latin typeface="12롯데마트드림Medium" panose="02020603020101020101" pitchFamily="18" charset="-127"/>
              <a:ea typeface="12롯데마트드림Medium" panose="02020603020101020101" pitchFamily="18" charset="-127"/>
            </a:endParaRPr>
          </a:p>
        </p:txBody>
      </p:sp>
      <p:sp>
        <p:nvSpPr>
          <p:cNvPr id="44" name="직사각형 43"/>
          <p:cNvSpPr/>
          <p:nvPr/>
        </p:nvSpPr>
        <p:spPr>
          <a:xfrm>
            <a:off x="1996672" y="4761149"/>
            <a:ext cx="135633" cy="152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1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12롯데마트드림Medium" panose="02020603020101020101" pitchFamily="18" charset="-127"/>
              <a:ea typeface="12롯데마트드림Medium" panose="02020603020101020101" pitchFamily="18" charset="-127"/>
            </a:endParaRPr>
          </a:p>
        </p:txBody>
      </p:sp>
      <p:sp>
        <p:nvSpPr>
          <p:cNvPr id="45" name="직사각형 44"/>
          <p:cNvSpPr/>
          <p:nvPr/>
        </p:nvSpPr>
        <p:spPr>
          <a:xfrm>
            <a:off x="1759860" y="4761149"/>
            <a:ext cx="135633" cy="152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1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12롯데마트드림Medium" panose="02020603020101020101" pitchFamily="18" charset="-127"/>
              <a:ea typeface="12롯데마트드림Medium" panose="02020603020101020101" pitchFamily="18" charset="-127"/>
            </a:endParaRPr>
          </a:p>
        </p:txBody>
      </p:sp>
      <p:sp>
        <p:nvSpPr>
          <p:cNvPr id="46" name="직사각형 45"/>
          <p:cNvSpPr/>
          <p:nvPr/>
        </p:nvSpPr>
        <p:spPr>
          <a:xfrm>
            <a:off x="1496022" y="4761149"/>
            <a:ext cx="135633" cy="152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1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12롯데마트드림Medium" panose="02020603020101020101" pitchFamily="18" charset="-127"/>
              <a:ea typeface="12롯데마트드림Medium" panose="02020603020101020101" pitchFamily="18" charset="-127"/>
            </a:endParaRPr>
          </a:p>
        </p:txBody>
      </p:sp>
      <p:sp>
        <p:nvSpPr>
          <p:cNvPr id="47" name="왼쪽/오른쪽 화살표 46"/>
          <p:cNvSpPr/>
          <p:nvPr/>
        </p:nvSpPr>
        <p:spPr>
          <a:xfrm>
            <a:off x="4517782" y="5033554"/>
            <a:ext cx="5472683" cy="249131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12롯데마트드림Medium" panose="02020603020101020101" pitchFamily="18" charset="-127"/>
              <a:ea typeface="12롯데마트드림Medium" panose="02020603020101020101" pitchFamily="18" charset="-127"/>
            </a:endParaRPr>
          </a:p>
        </p:txBody>
      </p:sp>
      <p:sp>
        <p:nvSpPr>
          <p:cNvPr id="48" name="왼쪽/오른쪽 화살표 47"/>
          <p:cNvSpPr/>
          <p:nvPr/>
        </p:nvSpPr>
        <p:spPr>
          <a:xfrm>
            <a:off x="6101959" y="5113130"/>
            <a:ext cx="3888506" cy="249131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12롯데마트드림Medium" panose="02020603020101020101" pitchFamily="18" charset="-127"/>
              <a:ea typeface="12롯데마트드림Medium" panose="02020603020101020101" pitchFamily="18" charset="-127"/>
            </a:endParaRPr>
          </a:p>
        </p:txBody>
      </p:sp>
      <p:sp>
        <p:nvSpPr>
          <p:cNvPr id="49" name="왼쪽/오른쪽 화살표 48"/>
          <p:cNvSpPr/>
          <p:nvPr/>
        </p:nvSpPr>
        <p:spPr>
          <a:xfrm>
            <a:off x="7608282" y="5201744"/>
            <a:ext cx="2382183" cy="249131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12롯데마트드림Medium" panose="02020603020101020101" pitchFamily="18" charset="-127"/>
              <a:ea typeface="12롯데마트드림Medium" panose="02020603020101020101" pitchFamily="18" charset="-127"/>
            </a:endParaRPr>
          </a:p>
        </p:txBody>
      </p:sp>
      <p:sp>
        <p:nvSpPr>
          <p:cNvPr id="50" name="왼쪽/오른쪽 화살표 49"/>
          <p:cNvSpPr/>
          <p:nvPr/>
        </p:nvSpPr>
        <p:spPr>
          <a:xfrm>
            <a:off x="8910270" y="5271802"/>
            <a:ext cx="1080195" cy="249131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12롯데마트드림Medium" panose="02020603020101020101" pitchFamily="18" charset="-127"/>
              <a:ea typeface="12롯데마트드림Medium" panose="02020603020101020101" pitchFamily="18" charset="-127"/>
            </a:endParaRPr>
          </a:p>
        </p:txBody>
      </p:sp>
      <p:sp>
        <p:nvSpPr>
          <p:cNvPr id="51" name="왼쪽/오른쪽 화살표 50"/>
          <p:cNvSpPr/>
          <p:nvPr/>
        </p:nvSpPr>
        <p:spPr>
          <a:xfrm>
            <a:off x="9608028" y="5556133"/>
            <a:ext cx="382437" cy="249131"/>
          </a:xfrm>
          <a:prstGeom prst="leftRightArrow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12롯데마트드림Medium" panose="02020603020101020101" pitchFamily="18" charset="-127"/>
              <a:ea typeface="12롯데마트드림Medium" panose="02020603020101020101" pitchFamily="18" charset="-127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061094" y="5053029"/>
            <a:ext cx="12369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 err="1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퀵정렬</a:t>
            </a:r>
            <a:endParaRPr lang="ko-KR" altLang="en-US" dirty="0">
              <a:latin typeface="12롯데마트드림Medium" panose="02020603020101020101" pitchFamily="18" charset="-127"/>
              <a:ea typeface="12롯데마트드림Medium" panose="02020603020101020101" pitchFamily="18" charset="-127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10090290" y="5502333"/>
            <a:ext cx="12369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dirty="0" err="1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선택</a:t>
            </a:r>
            <a:r>
              <a:rPr lang="ko-KR" altLang="en-US" dirty="0" err="1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정렬</a:t>
            </a:r>
            <a:endParaRPr lang="ko-KR" altLang="en-US" dirty="0">
              <a:latin typeface="12롯데마트드림Medium" panose="02020603020101020101" pitchFamily="18" charset="-127"/>
              <a:ea typeface="12롯데마트드림Medium" panose="02020603020101020101" pitchFamily="18" charset="-127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000DB5B6-C5B5-44A3-B302-24026388148B}"/>
              </a:ext>
            </a:extLst>
          </p:cNvPr>
          <p:cNvSpPr txBox="1"/>
          <p:nvPr/>
        </p:nvSpPr>
        <p:spPr>
          <a:xfrm>
            <a:off x="5665434" y="482360"/>
            <a:ext cx="8034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smtClean="0">
                <a:solidFill>
                  <a:schemeClr val="bg1">
                    <a:lumMod val="6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코드</a:t>
            </a:r>
            <a:r>
              <a:rPr lang="en-US" altLang="ko-KR" dirty="0">
                <a:solidFill>
                  <a:schemeClr val="bg1">
                    <a:lumMod val="6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 </a:t>
            </a:r>
            <a:r>
              <a:rPr lang="en-US" altLang="ko-KR" dirty="0" smtClean="0">
                <a:solidFill>
                  <a:schemeClr val="bg1">
                    <a:lumMod val="6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1</a:t>
            </a:r>
            <a:endParaRPr lang="ko-KR" altLang="en-US" dirty="0">
              <a:solidFill>
                <a:schemeClr val="bg1">
                  <a:lumMod val="65000"/>
                </a:schemeClr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CA63D2C7-D237-4D03-93FC-181A62B8AB20}"/>
              </a:ext>
            </a:extLst>
          </p:cNvPr>
          <p:cNvSpPr txBox="1"/>
          <p:nvPr/>
        </p:nvSpPr>
        <p:spPr>
          <a:xfrm>
            <a:off x="6760327" y="482360"/>
            <a:ext cx="8034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smtClean="0">
                <a:solidFill>
                  <a:schemeClr val="bg1"/>
                </a:solidFill>
                <a:latin typeface="나눔스퀘어라운드 Bold" pitchFamily="50" charset="-127"/>
                <a:ea typeface="나눔스퀘어라운드 Bold" pitchFamily="50" charset="-127"/>
              </a:rPr>
              <a:t>코드</a:t>
            </a:r>
            <a:r>
              <a:rPr lang="en-US" altLang="ko-KR" dirty="0">
                <a:solidFill>
                  <a:schemeClr val="bg1"/>
                </a:solidFill>
                <a:latin typeface="나눔스퀘어라운드 Bold" pitchFamily="50" charset="-127"/>
                <a:ea typeface="나눔스퀘어라운드 Bold" pitchFamily="50" charset="-127"/>
              </a:rPr>
              <a:t> </a:t>
            </a:r>
            <a:r>
              <a:rPr lang="en-US" altLang="ko-KR" dirty="0" smtClean="0">
                <a:solidFill>
                  <a:schemeClr val="bg1"/>
                </a:solidFill>
                <a:latin typeface="나눔스퀘어라운드 Bold" pitchFamily="50" charset="-127"/>
                <a:ea typeface="나눔스퀘어라운드 Bold" pitchFamily="50" charset="-127"/>
              </a:rPr>
              <a:t>2</a:t>
            </a:r>
            <a:endParaRPr lang="ko-KR" altLang="en-US" dirty="0">
              <a:solidFill>
                <a:schemeClr val="bg1"/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2FC7FBA5-4B58-410D-915A-64CEC33921CB}"/>
              </a:ext>
            </a:extLst>
          </p:cNvPr>
          <p:cNvSpPr txBox="1"/>
          <p:nvPr/>
        </p:nvSpPr>
        <p:spPr>
          <a:xfrm>
            <a:off x="7855220" y="482360"/>
            <a:ext cx="8146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smtClean="0">
                <a:solidFill>
                  <a:schemeClr val="bg1">
                    <a:lumMod val="6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무결성</a:t>
            </a:r>
            <a:endParaRPr lang="ko-KR" altLang="en-US" dirty="0">
              <a:solidFill>
                <a:schemeClr val="bg1">
                  <a:lumMod val="65000"/>
                </a:schemeClr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0BA0ABCF-FD1D-4D14-A862-20A7E806931B}"/>
              </a:ext>
            </a:extLst>
          </p:cNvPr>
          <p:cNvSpPr txBox="1"/>
          <p:nvPr/>
        </p:nvSpPr>
        <p:spPr>
          <a:xfrm>
            <a:off x="8950112" y="482360"/>
            <a:ext cx="10246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err="1" smtClean="0">
                <a:solidFill>
                  <a:schemeClr val="bg1">
                    <a:lumMod val="6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시간효율</a:t>
            </a:r>
            <a:endParaRPr lang="ko-KR" altLang="en-US" dirty="0">
              <a:solidFill>
                <a:schemeClr val="bg1">
                  <a:lumMod val="65000"/>
                </a:schemeClr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793734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직사각형 14"/>
          <p:cNvSpPr/>
          <p:nvPr/>
        </p:nvSpPr>
        <p:spPr>
          <a:xfrm>
            <a:off x="266831" y="260648"/>
            <a:ext cx="11658337" cy="6336704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사각형: 둥근 모서리 5">
            <a:extLst>
              <a:ext uri="{FF2B5EF4-FFF2-40B4-BE49-F238E27FC236}">
                <a16:creationId xmlns:a16="http://schemas.microsoft.com/office/drawing/2014/main" id="{AF2E363F-20BC-436E-9A7E-C4ED80984A4A}"/>
              </a:ext>
            </a:extLst>
          </p:cNvPr>
          <p:cNvSpPr/>
          <p:nvPr/>
        </p:nvSpPr>
        <p:spPr>
          <a:xfrm>
            <a:off x="6600057" y="428647"/>
            <a:ext cx="1125545" cy="476759"/>
          </a:xfrm>
          <a:custGeom>
            <a:avLst/>
            <a:gdLst>
              <a:gd name="connsiteX0" fmla="*/ 0 w 1432874"/>
              <a:gd name="connsiteY0" fmla="*/ 105032 h 630180"/>
              <a:gd name="connsiteX1" fmla="*/ 105032 w 1432874"/>
              <a:gd name="connsiteY1" fmla="*/ 0 h 630180"/>
              <a:gd name="connsiteX2" fmla="*/ 1327842 w 1432874"/>
              <a:gd name="connsiteY2" fmla="*/ 0 h 630180"/>
              <a:gd name="connsiteX3" fmla="*/ 1432874 w 1432874"/>
              <a:gd name="connsiteY3" fmla="*/ 105032 h 630180"/>
              <a:gd name="connsiteX4" fmla="*/ 1432874 w 1432874"/>
              <a:gd name="connsiteY4" fmla="*/ 525148 h 630180"/>
              <a:gd name="connsiteX5" fmla="*/ 1327842 w 1432874"/>
              <a:gd name="connsiteY5" fmla="*/ 630180 h 630180"/>
              <a:gd name="connsiteX6" fmla="*/ 105032 w 1432874"/>
              <a:gd name="connsiteY6" fmla="*/ 630180 h 630180"/>
              <a:gd name="connsiteX7" fmla="*/ 0 w 1432874"/>
              <a:gd name="connsiteY7" fmla="*/ 525148 h 630180"/>
              <a:gd name="connsiteX8" fmla="*/ 0 w 1432874"/>
              <a:gd name="connsiteY8" fmla="*/ 105032 h 630180"/>
              <a:gd name="connsiteX0" fmla="*/ 0 w 1432874"/>
              <a:gd name="connsiteY0" fmla="*/ 105032 h 630763"/>
              <a:gd name="connsiteX1" fmla="*/ 105032 w 1432874"/>
              <a:gd name="connsiteY1" fmla="*/ 0 h 630763"/>
              <a:gd name="connsiteX2" fmla="*/ 1327842 w 1432874"/>
              <a:gd name="connsiteY2" fmla="*/ 0 h 630763"/>
              <a:gd name="connsiteX3" fmla="*/ 1432874 w 1432874"/>
              <a:gd name="connsiteY3" fmla="*/ 105032 h 630763"/>
              <a:gd name="connsiteX4" fmla="*/ 1432874 w 1432874"/>
              <a:gd name="connsiteY4" fmla="*/ 525148 h 630763"/>
              <a:gd name="connsiteX5" fmla="*/ 1327842 w 1432874"/>
              <a:gd name="connsiteY5" fmla="*/ 630180 h 630763"/>
              <a:gd name="connsiteX6" fmla="*/ 105032 w 1432874"/>
              <a:gd name="connsiteY6" fmla="*/ 630180 h 630763"/>
              <a:gd name="connsiteX7" fmla="*/ 0 w 1432874"/>
              <a:gd name="connsiteY7" fmla="*/ 581709 h 630763"/>
              <a:gd name="connsiteX8" fmla="*/ 0 w 1432874"/>
              <a:gd name="connsiteY8" fmla="*/ 105032 h 630763"/>
              <a:gd name="connsiteX0" fmla="*/ 0 w 1432874"/>
              <a:gd name="connsiteY0" fmla="*/ 105032 h 642292"/>
              <a:gd name="connsiteX1" fmla="*/ 105032 w 1432874"/>
              <a:gd name="connsiteY1" fmla="*/ 0 h 642292"/>
              <a:gd name="connsiteX2" fmla="*/ 1327842 w 1432874"/>
              <a:gd name="connsiteY2" fmla="*/ 0 h 642292"/>
              <a:gd name="connsiteX3" fmla="*/ 1432874 w 1432874"/>
              <a:gd name="connsiteY3" fmla="*/ 105032 h 642292"/>
              <a:gd name="connsiteX4" fmla="*/ 1432874 w 1432874"/>
              <a:gd name="connsiteY4" fmla="*/ 609989 h 642292"/>
              <a:gd name="connsiteX5" fmla="*/ 1327842 w 1432874"/>
              <a:gd name="connsiteY5" fmla="*/ 630180 h 642292"/>
              <a:gd name="connsiteX6" fmla="*/ 105032 w 1432874"/>
              <a:gd name="connsiteY6" fmla="*/ 630180 h 642292"/>
              <a:gd name="connsiteX7" fmla="*/ 0 w 1432874"/>
              <a:gd name="connsiteY7" fmla="*/ 581709 h 642292"/>
              <a:gd name="connsiteX8" fmla="*/ 0 w 1432874"/>
              <a:gd name="connsiteY8" fmla="*/ 105032 h 6422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32874" h="642292">
                <a:moveTo>
                  <a:pt x="0" y="105032"/>
                </a:moveTo>
                <a:cubicBezTo>
                  <a:pt x="0" y="47024"/>
                  <a:pt x="47024" y="0"/>
                  <a:pt x="105032" y="0"/>
                </a:cubicBezTo>
                <a:lnTo>
                  <a:pt x="1327842" y="0"/>
                </a:lnTo>
                <a:cubicBezTo>
                  <a:pt x="1385850" y="0"/>
                  <a:pt x="1432874" y="47024"/>
                  <a:pt x="1432874" y="105032"/>
                </a:cubicBezTo>
                <a:lnTo>
                  <a:pt x="1432874" y="609989"/>
                </a:lnTo>
                <a:cubicBezTo>
                  <a:pt x="1432874" y="667997"/>
                  <a:pt x="1385850" y="630180"/>
                  <a:pt x="1327842" y="630180"/>
                </a:cubicBezTo>
                <a:lnTo>
                  <a:pt x="105032" y="630180"/>
                </a:lnTo>
                <a:cubicBezTo>
                  <a:pt x="47024" y="630180"/>
                  <a:pt x="0" y="639717"/>
                  <a:pt x="0" y="581709"/>
                </a:cubicBezTo>
                <a:lnTo>
                  <a:pt x="0" y="10503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18" name="직사각형 17">
            <a:extLst>
              <a:ext uri="{FF2B5EF4-FFF2-40B4-BE49-F238E27FC236}">
                <a16:creationId xmlns:a16="http://schemas.microsoft.com/office/drawing/2014/main" id="{DB16BA56-10B6-44A3-8D21-A352905D37A4}"/>
              </a:ext>
            </a:extLst>
          </p:cNvPr>
          <p:cNvSpPr/>
          <p:nvPr/>
        </p:nvSpPr>
        <p:spPr>
          <a:xfrm>
            <a:off x="266830" y="892406"/>
            <a:ext cx="11658337" cy="667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3285" y="2266788"/>
            <a:ext cx="6125430" cy="2324424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01107A4B-4BB7-4A52-838C-6AF7471A690E}"/>
              </a:ext>
            </a:extLst>
          </p:cNvPr>
          <p:cNvSpPr txBox="1"/>
          <p:nvPr/>
        </p:nvSpPr>
        <p:spPr>
          <a:xfrm>
            <a:off x="523097" y="365571"/>
            <a:ext cx="467307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400" dirty="0" smtClean="0">
                <a:latin typeface="나눔스퀘어라운드 Bold" pitchFamily="50" charset="-127"/>
                <a:ea typeface="나눔스퀘어라운드 Bold" pitchFamily="50" charset="-127"/>
              </a:rPr>
              <a:t>코드</a:t>
            </a:r>
            <a:r>
              <a:rPr lang="en-US" altLang="ko-KR" sz="2400" dirty="0" smtClean="0">
                <a:latin typeface="나눔스퀘어라운드 Bold" pitchFamily="50" charset="-127"/>
                <a:ea typeface="나눔스퀘어라운드 Bold" pitchFamily="50" charset="-127"/>
              </a:rPr>
              <a:t>2(</a:t>
            </a:r>
            <a:r>
              <a:rPr lang="ko-KR" altLang="en-US" sz="2400" dirty="0" err="1" smtClean="0">
                <a:latin typeface="나눔스퀘어라운드 Bold" pitchFamily="50" charset="-127"/>
                <a:ea typeface="나눔스퀘어라운드 Bold" pitchFamily="50" charset="-127"/>
              </a:rPr>
              <a:t>선택문제</a:t>
            </a:r>
            <a:r>
              <a:rPr lang="en-US" altLang="ko-KR" sz="2400" dirty="0" smtClean="0">
                <a:latin typeface="나눔스퀘어라운드 Bold" pitchFamily="50" charset="-127"/>
                <a:ea typeface="나눔스퀘어라운드 Bold" pitchFamily="50" charset="-127"/>
              </a:rPr>
              <a:t>+</a:t>
            </a:r>
            <a:r>
              <a:rPr lang="ko-KR" altLang="en-US" sz="2400" dirty="0" err="1" smtClean="0">
                <a:latin typeface="나눔스퀘어라운드 Bold" pitchFamily="50" charset="-127"/>
                <a:ea typeface="나눔스퀘어라운드 Bold" pitchFamily="50" charset="-127"/>
              </a:rPr>
              <a:t>퀵정렬</a:t>
            </a:r>
            <a:r>
              <a:rPr lang="en-US" altLang="ko-KR" sz="2400" dirty="0" smtClean="0">
                <a:latin typeface="나눔스퀘어라운드 Bold" pitchFamily="50" charset="-127"/>
                <a:ea typeface="나눔스퀘어라운드 Bold" pitchFamily="50" charset="-127"/>
              </a:rPr>
              <a:t>+</a:t>
            </a:r>
            <a:r>
              <a:rPr lang="ko-KR" altLang="en-US" sz="2400" dirty="0" err="1" smtClean="0">
                <a:latin typeface="나눔스퀘어라운드 Bold" pitchFamily="50" charset="-127"/>
                <a:ea typeface="나눔스퀘어라운드 Bold" pitchFamily="50" charset="-127"/>
              </a:rPr>
              <a:t>선택정렬</a:t>
            </a:r>
            <a:r>
              <a:rPr lang="en-US" altLang="ko-KR" sz="2400" dirty="0" smtClean="0">
                <a:latin typeface="나눔스퀘어라운드 Bold" pitchFamily="50" charset="-127"/>
                <a:ea typeface="나눔스퀘어라운드 Bold" pitchFamily="50" charset="-127"/>
              </a:rPr>
              <a:t>)</a:t>
            </a:r>
            <a:endParaRPr lang="ko-KR" altLang="en-US" sz="2400" dirty="0"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391325" y="5121843"/>
            <a:ext cx="340934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5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기존의 </a:t>
            </a:r>
            <a:r>
              <a:rPr lang="ko-KR" altLang="en-US" sz="1500" dirty="0" err="1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선택정렬과</a:t>
            </a:r>
            <a:r>
              <a:rPr lang="ko-KR" altLang="en-US" sz="15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 </a:t>
            </a:r>
            <a:r>
              <a:rPr lang="ko-KR" altLang="en-US" sz="1500" dirty="0" err="1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선택문제와</a:t>
            </a:r>
            <a:endParaRPr lang="en-US" altLang="ko-KR" sz="1500" dirty="0" smtClean="0">
              <a:latin typeface="12롯데마트드림Medium" panose="02020603020101020101" pitchFamily="18" charset="-127"/>
              <a:ea typeface="12롯데마트드림Medium" panose="02020603020101020101" pitchFamily="18" charset="-127"/>
            </a:endParaRPr>
          </a:p>
          <a:p>
            <a:pPr algn="ctr"/>
            <a:r>
              <a:rPr lang="ko-KR" altLang="en-US" sz="15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같은 함수</a:t>
            </a:r>
            <a:endParaRPr lang="ko-KR" altLang="en-US" sz="1500" dirty="0">
              <a:latin typeface="12롯데마트드림Medium" panose="02020603020101020101" pitchFamily="18" charset="-127"/>
              <a:ea typeface="12롯데마트드림Medium" panose="02020603020101020101" pitchFamily="18" charset="-127"/>
            </a:endParaRPr>
          </a:p>
        </p:txBody>
      </p:sp>
      <p:sp>
        <p:nvSpPr>
          <p:cNvPr id="3" name="직사각형 2"/>
          <p:cNvSpPr/>
          <p:nvPr/>
        </p:nvSpPr>
        <p:spPr>
          <a:xfrm>
            <a:off x="4453976" y="1516725"/>
            <a:ext cx="3375348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sz="1500" dirty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앞의 </a:t>
            </a:r>
            <a:r>
              <a:rPr lang="en-US" altLang="ko-KR" sz="1500" dirty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quicksort 1, 2</a:t>
            </a:r>
            <a:r>
              <a:rPr lang="ko-KR" altLang="en-US" sz="1500" dirty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함수를 동일하게 사용</a:t>
            </a:r>
            <a:endParaRPr lang="en-US" altLang="ko-KR" sz="1500" dirty="0">
              <a:latin typeface="12롯데마트드림Medium" panose="02020603020101020101" pitchFamily="18" charset="-127"/>
              <a:ea typeface="12롯데마트드림Medium" panose="02020603020101020101" pitchFamily="18" charset="-127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00DB5B6-C5B5-44A3-B302-24026388148B}"/>
              </a:ext>
            </a:extLst>
          </p:cNvPr>
          <p:cNvSpPr txBox="1"/>
          <p:nvPr/>
        </p:nvSpPr>
        <p:spPr>
          <a:xfrm>
            <a:off x="5665434" y="482360"/>
            <a:ext cx="8034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smtClean="0">
                <a:solidFill>
                  <a:schemeClr val="bg1">
                    <a:lumMod val="6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코드</a:t>
            </a:r>
            <a:r>
              <a:rPr lang="en-US" altLang="ko-KR" dirty="0">
                <a:solidFill>
                  <a:schemeClr val="bg1">
                    <a:lumMod val="6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 </a:t>
            </a:r>
            <a:r>
              <a:rPr lang="en-US" altLang="ko-KR" dirty="0" smtClean="0">
                <a:solidFill>
                  <a:schemeClr val="bg1">
                    <a:lumMod val="6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1</a:t>
            </a:r>
            <a:endParaRPr lang="ko-KR" altLang="en-US" dirty="0">
              <a:solidFill>
                <a:schemeClr val="bg1">
                  <a:lumMod val="65000"/>
                </a:schemeClr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A63D2C7-D237-4D03-93FC-181A62B8AB20}"/>
              </a:ext>
            </a:extLst>
          </p:cNvPr>
          <p:cNvSpPr txBox="1"/>
          <p:nvPr/>
        </p:nvSpPr>
        <p:spPr>
          <a:xfrm>
            <a:off x="6760327" y="482360"/>
            <a:ext cx="8034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smtClean="0">
                <a:solidFill>
                  <a:schemeClr val="bg1"/>
                </a:solidFill>
                <a:latin typeface="나눔스퀘어라운드 Bold" pitchFamily="50" charset="-127"/>
                <a:ea typeface="나눔스퀘어라운드 Bold" pitchFamily="50" charset="-127"/>
              </a:rPr>
              <a:t>코드</a:t>
            </a:r>
            <a:r>
              <a:rPr lang="en-US" altLang="ko-KR" dirty="0">
                <a:solidFill>
                  <a:schemeClr val="bg1"/>
                </a:solidFill>
                <a:latin typeface="나눔스퀘어라운드 Bold" pitchFamily="50" charset="-127"/>
                <a:ea typeface="나눔스퀘어라운드 Bold" pitchFamily="50" charset="-127"/>
              </a:rPr>
              <a:t> </a:t>
            </a:r>
            <a:r>
              <a:rPr lang="en-US" altLang="ko-KR" dirty="0" smtClean="0">
                <a:solidFill>
                  <a:schemeClr val="bg1"/>
                </a:solidFill>
                <a:latin typeface="나눔스퀘어라운드 Bold" pitchFamily="50" charset="-127"/>
                <a:ea typeface="나눔스퀘어라운드 Bold" pitchFamily="50" charset="-127"/>
              </a:rPr>
              <a:t>2</a:t>
            </a:r>
            <a:endParaRPr lang="ko-KR" altLang="en-US" dirty="0">
              <a:solidFill>
                <a:schemeClr val="bg1"/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FC7FBA5-4B58-410D-915A-64CEC33921CB}"/>
              </a:ext>
            </a:extLst>
          </p:cNvPr>
          <p:cNvSpPr txBox="1"/>
          <p:nvPr/>
        </p:nvSpPr>
        <p:spPr>
          <a:xfrm>
            <a:off x="7855220" y="482360"/>
            <a:ext cx="8146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smtClean="0">
                <a:solidFill>
                  <a:schemeClr val="bg1">
                    <a:lumMod val="6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무결성</a:t>
            </a:r>
            <a:endParaRPr lang="ko-KR" altLang="en-US" dirty="0">
              <a:solidFill>
                <a:schemeClr val="bg1">
                  <a:lumMod val="65000"/>
                </a:schemeClr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BA0ABCF-FD1D-4D14-A862-20A7E806931B}"/>
              </a:ext>
            </a:extLst>
          </p:cNvPr>
          <p:cNvSpPr txBox="1"/>
          <p:nvPr/>
        </p:nvSpPr>
        <p:spPr>
          <a:xfrm>
            <a:off x="8950112" y="482360"/>
            <a:ext cx="10246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err="1" smtClean="0">
                <a:solidFill>
                  <a:schemeClr val="bg1">
                    <a:lumMod val="6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시간효율</a:t>
            </a:r>
            <a:endParaRPr lang="ko-KR" altLang="en-US" dirty="0">
              <a:solidFill>
                <a:schemeClr val="bg1">
                  <a:lumMod val="65000"/>
                </a:schemeClr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547653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직사각형 14"/>
          <p:cNvSpPr/>
          <p:nvPr/>
        </p:nvSpPr>
        <p:spPr>
          <a:xfrm>
            <a:off x="266831" y="260648"/>
            <a:ext cx="11658337" cy="6336704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사각형: 둥근 모서리 5">
            <a:extLst>
              <a:ext uri="{FF2B5EF4-FFF2-40B4-BE49-F238E27FC236}">
                <a16:creationId xmlns:a16="http://schemas.microsoft.com/office/drawing/2014/main" id="{AF2E363F-20BC-436E-9A7E-C4ED80984A4A}"/>
              </a:ext>
            </a:extLst>
          </p:cNvPr>
          <p:cNvSpPr/>
          <p:nvPr/>
        </p:nvSpPr>
        <p:spPr>
          <a:xfrm>
            <a:off x="7704579" y="428647"/>
            <a:ext cx="1125545" cy="476759"/>
          </a:xfrm>
          <a:custGeom>
            <a:avLst/>
            <a:gdLst>
              <a:gd name="connsiteX0" fmla="*/ 0 w 1432874"/>
              <a:gd name="connsiteY0" fmla="*/ 105032 h 630180"/>
              <a:gd name="connsiteX1" fmla="*/ 105032 w 1432874"/>
              <a:gd name="connsiteY1" fmla="*/ 0 h 630180"/>
              <a:gd name="connsiteX2" fmla="*/ 1327842 w 1432874"/>
              <a:gd name="connsiteY2" fmla="*/ 0 h 630180"/>
              <a:gd name="connsiteX3" fmla="*/ 1432874 w 1432874"/>
              <a:gd name="connsiteY3" fmla="*/ 105032 h 630180"/>
              <a:gd name="connsiteX4" fmla="*/ 1432874 w 1432874"/>
              <a:gd name="connsiteY4" fmla="*/ 525148 h 630180"/>
              <a:gd name="connsiteX5" fmla="*/ 1327842 w 1432874"/>
              <a:gd name="connsiteY5" fmla="*/ 630180 h 630180"/>
              <a:gd name="connsiteX6" fmla="*/ 105032 w 1432874"/>
              <a:gd name="connsiteY6" fmla="*/ 630180 h 630180"/>
              <a:gd name="connsiteX7" fmla="*/ 0 w 1432874"/>
              <a:gd name="connsiteY7" fmla="*/ 525148 h 630180"/>
              <a:gd name="connsiteX8" fmla="*/ 0 w 1432874"/>
              <a:gd name="connsiteY8" fmla="*/ 105032 h 630180"/>
              <a:gd name="connsiteX0" fmla="*/ 0 w 1432874"/>
              <a:gd name="connsiteY0" fmla="*/ 105032 h 630763"/>
              <a:gd name="connsiteX1" fmla="*/ 105032 w 1432874"/>
              <a:gd name="connsiteY1" fmla="*/ 0 h 630763"/>
              <a:gd name="connsiteX2" fmla="*/ 1327842 w 1432874"/>
              <a:gd name="connsiteY2" fmla="*/ 0 h 630763"/>
              <a:gd name="connsiteX3" fmla="*/ 1432874 w 1432874"/>
              <a:gd name="connsiteY3" fmla="*/ 105032 h 630763"/>
              <a:gd name="connsiteX4" fmla="*/ 1432874 w 1432874"/>
              <a:gd name="connsiteY4" fmla="*/ 525148 h 630763"/>
              <a:gd name="connsiteX5" fmla="*/ 1327842 w 1432874"/>
              <a:gd name="connsiteY5" fmla="*/ 630180 h 630763"/>
              <a:gd name="connsiteX6" fmla="*/ 105032 w 1432874"/>
              <a:gd name="connsiteY6" fmla="*/ 630180 h 630763"/>
              <a:gd name="connsiteX7" fmla="*/ 0 w 1432874"/>
              <a:gd name="connsiteY7" fmla="*/ 581709 h 630763"/>
              <a:gd name="connsiteX8" fmla="*/ 0 w 1432874"/>
              <a:gd name="connsiteY8" fmla="*/ 105032 h 630763"/>
              <a:gd name="connsiteX0" fmla="*/ 0 w 1432874"/>
              <a:gd name="connsiteY0" fmla="*/ 105032 h 642292"/>
              <a:gd name="connsiteX1" fmla="*/ 105032 w 1432874"/>
              <a:gd name="connsiteY1" fmla="*/ 0 h 642292"/>
              <a:gd name="connsiteX2" fmla="*/ 1327842 w 1432874"/>
              <a:gd name="connsiteY2" fmla="*/ 0 h 642292"/>
              <a:gd name="connsiteX3" fmla="*/ 1432874 w 1432874"/>
              <a:gd name="connsiteY3" fmla="*/ 105032 h 642292"/>
              <a:gd name="connsiteX4" fmla="*/ 1432874 w 1432874"/>
              <a:gd name="connsiteY4" fmla="*/ 609989 h 642292"/>
              <a:gd name="connsiteX5" fmla="*/ 1327842 w 1432874"/>
              <a:gd name="connsiteY5" fmla="*/ 630180 h 642292"/>
              <a:gd name="connsiteX6" fmla="*/ 105032 w 1432874"/>
              <a:gd name="connsiteY6" fmla="*/ 630180 h 642292"/>
              <a:gd name="connsiteX7" fmla="*/ 0 w 1432874"/>
              <a:gd name="connsiteY7" fmla="*/ 581709 h 642292"/>
              <a:gd name="connsiteX8" fmla="*/ 0 w 1432874"/>
              <a:gd name="connsiteY8" fmla="*/ 105032 h 6422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32874" h="642292">
                <a:moveTo>
                  <a:pt x="0" y="105032"/>
                </a:moveTo>
                <a:cubicBezTo>
                  <a:pt x="0" y="47024"/>
                  <a:pt x="47024" y="0"/>
                  <a:pt x="105032" y="0"/>
                </a:cubicBezTo>
                <a:lnTo>
                  <a:pt x="1327842" y="0"/>
                </a:lnTo>
                <a:cubicBezTo>
                  <a:pt x="1385850" y="0"/>
                  <a:pt x="1432874" y="47024"/>
                  <a:pt x="1432874" y="105032"/>
                </a:cubicBezTo>
                <a:lnTo>
                  <a:pt x="1432874" y="609989"/>
                </a:lnTo>
                <a:cubicBezTo>
                  <a:pt x="1432874" y="667997"/>
                  <a:pt x="1385850" y="630180"/>
                  <a:pt x="1327842" y="630180"/>
                </a:cubicBezTo>
                <a:lnTo>
                  <a:pt x="105032" y="630180"/>
                </a:lnTo>
                <a:cubicBezTo>
                  <a:pt x="47024" y="630180"/>
                  <a:pt x="0" y="639717"/>
                  <a:pt x="0" y="581709"/>
                </a:cubicBezTo>
                <a:lnTo>
                  <a:pt x="0" y="10503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DB16BA56-10B6-44A3-8D21-A352905D37A4}"/>
              </a:ext>
            </a:extLst>
          </p:cNvPr>
          <p:cNvSpPr/>
          <p:nvPr/>
        </p:nvSpPr>
        <p:spPr>
          <a:xfrm>
            <a:off x="266830" y="892406"/>
            <a:ext cx="11658337" cy="667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1107A4B-4BB7-4A52-838C-6AF7471A690E}"/>
              </a:ext>
            </a:extLst>
          </p:cNvPr>
          <p:cNvSpPr txBox="1"/>
          <p:nvPr/>
        </p:nvSpPr>
        <p:spPr>
          <a:xfrm>
            <a:off x="623392" y="1196752"/>
            <a:ext cx="250581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400" dirty="0" smtClean="0">
                <a:latin typeface="나눔스퀘어라운드 Bold" pitchFamily="50" charset="-127"/>
                <a:ea typeface="나눔스퀘어라운드 Bold" pitchFamily="50" charset="-127"/>
              </a:rPr>
              <a:t>알고리즘의 무결성</a:t>
            </a:r>
            <a:endParaRPr lang="ko-KR" altLang="en-US" sz="2400" dirty="0"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pic>
        <p:nvPicPr>
          <p:cNvPr id="22" name="그림 2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4885"/>
          <a:stretch/>
        </p:blipFill>
        <p:spPr>
          <a:xfrm>
            <a:off x="767408" y="1691970"/>
            <a:ext cx="10420251" cy="3093970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000DB5B6-C5B5-44A3-B302-24026388148B}"/>
              </a:ext>
            </a:extLst>
          </p:cNvPr>
          <p:cNvSpPr txBox="1"/>
          <p:nvPr/>
        </p:nvSpPr>
        <p:spPr>
          <a:xfrm>
            <a:off x="5665434" y="482360"/>
            <a:ext cx="8034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smtClean="0">
                <a:solidFill>
                  <a:schemeClr val="bg1">
                    <a:lumMod val="6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코드</a:t>
            </a:r>
            <a:r>
              <a:rPr lang="en-US" altLang="ko-KR" dirty="0">
                <a:solidFill>
                  <a:schemeClr val="bg1">
                    <a:lumMod val="6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 </a:t>
            </a:r>
            <a:r>
              <a:rPr lang="en-US" altLang="ko-KR" dirty="0" smtClean="0">
                <a:solidFill>
                  <a:schemeClr val="bg1">
                    <a:lumMod val="6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1</a:t>
            </a:r>
            <a:endParaRPr lang="ko-KR" altLang="en-US" dirty="0">
              <a:solidFill>
                <a:schemeClr val="bg1">
                  <a:lumMod val="65000"/>
                </a:schemeClr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448" b="20601"/>
          <a:stretch/>
        </p:blipFill>
        <p:spPr>
          <a:xfrm>
            <a:off x="763770" y="4923147"/>
            <a:ext cx="10420251" cy="1505452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CA63D2C7-D237-4D03-93FC-181A62B8AB20}"/>
              </a:ext>
            </a:extLst>
          </p:cNvPr>
          <p:cNvSpPr txBox="1"/>
          <p:nvPr/>
        </p:nvSpPr>
        <p:spPr>
          <a:xfrm>
            <a:off x="6760327" y="482360"/>
            <a:ext cx="8034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smtClean="0">
                <a:solidFill>
                  <a:schemeClr val="bg1">
                    <a:lumMod val="6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코드</a:t>
            </a:r>
            <a:r>
              <a:rPr lang="en-US" altLang="ko-KR" dirty="0">
                <a:solidFill>
                  <a:schemeClr val="bg1">
                    <a:lumMod val="6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 </a:t>
            </a:r>
            <a:r>
              <a:rPr lang="en-US" altLang="ko-KR" dirty="0" smtClean="0">
                <a:solidFill>
                  <a:schemeClr val="bg1">
                    <a:lumMod val="6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2</a:t>
            </a:r>
            <a:endParaRPr lang="ko-KR" altLang="en-US" dirty="0">
              <a:solidFill>
                <a:schemeClr val="bg1">
                  <a:lumMod val="65000"/>
                </a:schemeClr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FC7FBA5-4B58-410D-915A-64CEC33921CB}"/>
              </a:ext>
            </a:extLst>
          </p:cNvPr>
          <p:cNvSpPr txBox="1"/>
          <p:nvPr/>
        </p:nvSpPr>
        <p:spPr>
          <a:xfrm>
            <a:off x="7855220" y="482360"/>
            <a:ext cx="8146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smtClean="0">
                <a:solidFill>
                  <a:schemeClr val="bg1"/>
                </a:solidFill>
                <a:latin typeface="나눔스퀘어라운드 Bold" pitchFamily="50" charset="-127"/>
                <a:ea typeface="나눔스퀘어라운드 Bold" pitchFamily="50" charset="-127"/>
              </a:rPr>
              <a:t>무결성</a:t>
            </a:r>
            <a:endParaRPr lang="ko-KR" altLang="en-US" dirty="0">
              <a:solidFill>
                <a:schemeClr val="bg1"/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BA0ABCF-FD1D-4D14-A862-20A7E806931B}"/>
              </a:ext>
            </a:extLst>
          </p:cNvPr>
          <p:cNvSpPr txBox="1"/>
          <p:nvPr/>
        </p:nvSpPr>
        <p:spPr>
          <a:xfrm>
            <a:off x="8950112" y="482360"/>
            <a:ext cx="10246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err="1" smtClean="0">
                <a:solidFill>
                  <a:schemeClr val="bg1">
                    <a:lumMod val="6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시간효율</a:t>
            </a:r>
            <a:endParaRPr lang="ko-KR" altLang="en-US" dirty="0">
              <a:solidFill>
                <a:schemeClr val="bg1">
                  <a:lumMod val="65000"/>
                </a:schemeClr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7155155" y="1744047"/>
            <a:ext cx="340934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5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1. </a:t>
            </a:r>
            <a:r>
              <a:rPr lang="ko-KR" altLang="en-US" sz="15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각각의 실제 점수 출력</a:t>
            </a:r>
            <a:endParaRPr lang="ko-KR" altLang="en-US" sz="1500" dirty="0">
              <a:latin typeface="12롯데마트드림Medium" panose="02020603020101020101" pitchFamily="18" charset="-127"/>
              <a:ea typeface="12롯데마트드림Medium" panose="02020603020101020101" pitchFamily="18" charset="-127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965192" y="2725837"/>
            <a:ext cx="340934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5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2. 1~5</a:t>
            </a:r>
            <a:r>
              <a:rPr lang="ko-KR" altLang="en-US" sz="15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등 점수 같은지 확인</a:t>
            </a:r>
            <a:endParaRPr lang="en-US" altLang="ko-KR" sz="1500" dirty="0" smtClean="0">
              <a:latin typeface="12롯데마트드림Medium" panose="02020603020101020101" pitchFamily="18" charset="-127"/>
              <a:ea typeface="12롯데마트드림Medium" panose="02020603020101020101" pitchFamily="18" charset="-127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7125557" y="3436532"/>
            <a:ext cx="3365223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5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3. 6~10</a:t>
            </a:r>
            <a:r>
              <a:rPr lang="ko-KR" altLang="en-US" sz="15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등 구간 점수 같은지 확인</a:t>
            </a:r>
            <a:endParaRPr lang="en-US" altLang="ko-KR" sz="1500" dirty="0" smtClean="0">
              <a:latin typeface="12롯데마트드림Medium" panose="02020603020101020101" pitchFamily="18" charset="-127"/>
              <a:ea typeface="12롯데마트드림Medium" panose="02020603020101020101" pitchFamily="18" charset="-127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7285740" y="4025113"/>
            <a:ext cx="327876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5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4. 10~90% </a:t>
            </a:r>
            <a:r>
              <a:rPr lang="ko-KR" altLang="en-US" sz="15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경계 점수 같은지 확인</a:t>
            </a:r>
            <a:endParaRPr lang="en-US" altLang="ko-KR" sz="1500" dirty="0" smtClean="0">
              <a:latin typeface="12롯데마트드림Medium" panose="02020603020101020101" pitchFamily="18" charset="-127"/>
              <a:ea typeface="12롯데마트드림Medium" panose="02020603020101020101" pitchFamily="18" charset="-127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8061563" y="5052150"/>
            <a:ext cx="3129399" cy="78483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ko-KR" sz="15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5. 10~20% </a:t>
            </a:r>
            <a:r>
              <a:rPr lang="ko-KR" altLang="en-US" sz="15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구간 내 점수 중</a:t>
            </a:r>
            <a:r>
              <a:rPr lang="en-US" altLang="ko-KR" sz="15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,</a:t>
            </a:r>
          </a:p>
          <a:p>
            <a:pPr algn="ctr"/>
            <a:r>
              <a:rPr lang="en-US" altLang="ko-KR" sz="15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10% </a:t>
            </a:r>
            <a:r>
              <a:rPr lang="ko-KR" altLang="en-US" sz="15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경계 점수와 </a:t>
            </a:r>
            <a:r>
              <a:rPr lang="en-US" altLang="ko-KR" sz="15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20%</a:t>
            </a:r>
            <a:r>
              <a:rPr lang="ko-KR" altLang="en-US" sz="15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경계 점수의</a:t>
            </a:r>
            <a:endParaRPr lang="en-US" altLang="ko-KR" sz="1500" dirty="0">
              <a:latin typeface="12롯데마트드림Medium" panose="02020603020101020101" pitchFamily="18" charset="-127"/>
              <a:ea typeface="12롯데마트드림Medium" panose="02020603020101020101" pitchFamily="18" charset="-127"/>
            </a:endParaRPr>
          </a:p>
          <a:p>
            <a:pPr algn="ctr"/>
            <a:r>
              <a:rPr lang="ko-KR" altLang="en-US" sz="15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범위에서</a:t>
            </a:r>
            <a:r>
              <a:rPr lang="en-US" altLang="ko-KR" sz="1500" dirty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 </a:t>
            </a:r>
            <a:r>
              <a:rPr lang="ko-KR" altLang="en-US" sz="1500" dirty="0" smtClean="0">
                <a:latin typeface="12롯데마트드림Medium" panose="02020603020101020101" pitchFamily="18" charset="-127"/>
                <a:ea typeface="12롯데마트드림Medium" panose="02020603020101020101" pitchFamily="18" charset="-127"/>
              </a:rPr>
              <a:t>벗어난 점수가 있는지</a:t>
            </a:r>
            <a:endParaRPr lang="en-US" altLang="ko-KR" sz="1500" dirty="0" smtClean="0">
              <a:latin typeface="12롯데마트드림Medium" panose="02020603020101020101" pitchFamily="18" charset="-127"/>
              <a:ea typeface="12롯데마트드림Medium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21467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직사각형 14"/>
          <p:cNvSpPr/>
          <p:nvPr/>
        </p:nvSpPr>
        <p:spPr>
          <a:xfrm>
            <a:off x="266831" y="260648"/>
            <a:ext cx="11658337" cy="6336704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사각형: 둥근 모서리 5">
            <a:extLst>
              <a:ext uri="{FF2B5EF4-FFF2-40B4-BE49-F238E27FC236}">
                <a16:creationId xmlns:a16="http://schemas.microsoft.com/office/drawing/2014/main" id="{AF2E363F-20BC-436E-9A7E-C4ED80984A4A}"/>
              </a:ext>
            </a:extLst>
          </p:cNvPr>
          <p:cNvSpPr/>
          <p:nvPr/>
        </p:nvSpPr>
        <p:spPr>
          <a:xfrm>
            <a:off x="7704579" y="428647"/>
            <a:ext cx="1125545" cy="476759"/>
          </a:xfrm>
          <a:custGeom>
            <a:avLst/>
            <a:gdLst>
              <a:gd name="connsiteX0" fmla="*/ 0 w 1432874"/>
              <a:gd name="connsiteY0" fmla="*/ 105032 h 630180"/>
              <a:gd name="connsiteX1" fmla="*/ 105032 w 1432874"/>
              <a:gd name="connsiteY1" fmla="*/ 0 h 630180"/>
              <a:gd name="connsiteX2" fmla="*/ 1327842 w 1432874"/>
              <a:gd name="connsiteY2" fmla="*/ 0 h 630180"/>
              <a:gd name="connsiteX3" fmla="*/ 1432874 w 1432874"/>
              <a:gd name="connsiteY3" fmla="*/ 105032 h 630180"/>
              <a:gd name="connsiteX4" fmla="*/ 1432874 w 1432874"/>
              <a:gd name="connsiteY4" fmla="*/ 525148 h 630180"/>
              <a:gd name="connsiteX5" fmla="*/ 1327842 w 1432874"/>
              <a:gd name="connsiteY5" fmla="*/ 630180 h 630180"/>
              <a:gd name="connsiteX6" fmla="*/ 105032 w 1432874"/>
              <a:gd name="connsiteY6" fmla="*/ 630180 h 630180"/>
              <a:gd name="connsiteX7" fmla="*/ 0 w 1432874"/>
              <a:gd name="connsiteY7" fmla="*/ 525148 h 630180"/>
              <a:gd name="connsiteX8" fmla="*/ 0 w 1432874"/>
              <a:gd name="connsiteY8" fmla="*/ 105032 h 630180"/>
              <a:gd name="connsiteX0" fmla="*/ 0 w 1432874"/>
              <a:gd name="connsiteY0" fmla="*/ 105032 h 630763"/>
              <a:gd name="connsiteX1" fmla="*/ 105032 w 1432874"/>
              <a:gd name="connsiteY1" fmla="*/ 0 h 630763"/>
              <a:gd name="connsiteX2" fmla="*/ 1327842 w 1432874"/>
              <a:gd name="connsiteY2" fmla="*/ 0 h 630763"/>
              <a:gd name="connsiteX3" fmla="*/ 1432874 w 1432874"/>
              <a:gd name="connsiteY3" fmla="*/ 105032 h 630763"/>
              <a:gd name="connsiteX4" fmla="*/ 1432874 w 1432874"/>
              <a:gd name="connsiteY4" fmla="*/ 525148 h 630763"/>
              <a:gd name="connsiteX5" fmla="*/ 1327842 w 1432874"/>
              <a:gd name="connsiteY5" fmla="*/ 630180 h 630763"/>
              <a:gd name="connsiteX6" fmla="*/ 105032 w 1432874"/>
              <a:gd name="connsiteY6" fmla="*/ 630180 h 630763"/>
              <a:gd name="connsiteX7" fmla="*/ 0 w 1432874"/>
              <a:gd name="connsiteY7" fmla="*/ 581709 h 630763"/>
              <a:gd name="connsiteX8" fmla="*/ 0 w 1432874"/>
              <a:gd name="connsiteY8" fmla="*/ 105032 h 630763"/>
              <a:gd name="connsiteX0" fmla="*/ 0 w 1432874"/>
              <a:gd name="connsiteY0" fmla="*/ 105032 h 642292"/>
              <a:gd name="connsiteX1" fmla="*/ 105032 w 1432874"/>
              <a:gd name="connsiteY1" fmla="*/ 0 h 642292"/>
              <a:gd name="connsiteX2" fmla="*/ 1327842 w 1432874"/>
              <a:gd name="connsiteY2" fmla="*/ 0 h 642292"/>
              <a:gd name="connsiteX3" fmla="*/ 1432874 w 1432874"/>
              <a:gd name="connsiteY3" fmla="*/ 105032 h 642292"/>
              <a:gd name="connsiteX4" fmla="*/ 1432874 w 1432874"/>
              <a:gd name="connsiteY4" fmla="*/ 609989 h 642292"/>
              <a:gd name="connsiteX5" fmla="*/ 1327842 w 1432874"/>
              <a:gd name="connsiteY5" fmla="*/ 630180 h 642292"/>
              <a:gd name="connsiteX6" fmla="*/ 105032 w 1432874"/>
              <a:gd name="connsiteY6" fmla="*/ 630180 h 642292"/>
              <a:gd name="connsiteX7" fmla="*/ 0 w 1432874"/>
              <a:gd name="connsiteY7" fmla="*/ 581709 h 642292"/>
              <a:gd name="connsiteX8" fmla="*/ 0 w 1432874"/>
              <a:gd name="connsiteY8" fmla="*/ 105032 h 6422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32874" h="642292">
                <a:moveTo>
                  <a:pt x="0" y="105032"/>
                </a:moveTo>
                <a:cubicBezTo>
                  <a:pt x="0" y="47024"/>
                  <a:pt x="47024" y="0"/>
                  <a:pt x="105032" y="0"/>
                </a:cubicBezTo>
                <a:lnTo>
                  <a:pt x="1327842" y="0"/>
                </a:lnTo>
                <a:cubicBezTo>
                  <a:pt x="1385850" y="0"/>
                  <a:pt x="1432874" y="47024"/>
                  <a:pt x="1432874" y="105032"/>
                </a:cubicBezTo>
                <a:lnTo>
                  <a:pt x="1432874" y="609989"/>
                </a:lnTo>
                <a:cubicBezTo>
                  <a:pt x="1432874" y="667997"/>
                  <a:pt x="1385850" y="630180"/>
                  <a:pt x="1327842" y="630180"/>
                </a:cubicBezTo>
                <a:lnTo>
                  <a:pt x="105032" y="630180"/>
                </a:lnTo>
                <a:cubicBezTo>
                  <a:pt x="47024" y="630180"/>
                  <a:pt x="0" y="639717"/>
                  <a:pt x="0" y="581709"/>
                </a:cubicBezTo>
                <a:lnTo>
                  <a:pt x="0" y="10503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DB16BA56-10B6-44A3-8D21-A352905D37A4}"/>
              </a:ext>
            </a:extLst>
          </p:cNvPr>
          <p:cNvSpPr/>
          <p:nvPr/>
        </p:nvSpPr>
        <p:spPr>
          <a:xfrm>
            <a:off x="266830" y="892406"/>
            <a:ext cx="11658337" cy="667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1107A4B-4BB7-4A52-838C-6AF7471A690E}"/>
              </a:ext>
            </a:extLst>
          </p:cNvPr>
          <p:cNvSpPr txBox="1"/>
          <p:nvPr/>
        </p:nvSpPr>
        <p:spPr>
          <a:xfrm>
            <a:off x="623392" y="1196752"/>
            <a:ext cx="250581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2400" dirty="0" smtClean="0">
                <a:latin typeface="나눔스퀘어라운드 Bold" pitchFamily="50" charset="-127"/>
                <a:ea typeface="나눔스퀘어라운드 Bold" pitchFamily="50" charset="-127"/>
              </a:rPr>
              <a:t>알고리즘의 무결성</a:t>
            </a:r>
            <a:endParaRPr lang="ko-KR" altLang="en-US" sz="2400" dirty="0"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00DB5B6-C5B5-44A3-B302-24026388148B}"/>
              </a:ext>
            </a:extLst>
          </p:cNvPr>
          <p:cNvSpPr txBox="1"/>
          <p:nvPr/>
        </p:nvSpPr>
        <p:spPr>
          <a:xfrm>
            <a:off x="5665434" y="482360"/>
            <a:ext cx="8034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smtClean="0">
                <a:solidFill>
                  <a:schemeClr val="bg1">
                    <a:lumMod val="6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코드</a:t>
            </a:r>
            <a:r>
              <a:rPr lang="en-US" altLang="ko-KR" dirty="0">
                <a:solidFill>
                  <a:schemeClr val="bg1">
                    <a:lumMod val="6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 </a:t>
            </a:r>
            <a:r>
              <a:rPr lang="en-US" altLang="ko-KR" dirty="0" smtClean="0">
                <a:solidFill>
                  <a:schemeClr val="bg1">
                    <a:lumMod val="6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1</a:t>
            </a:r>
            <a:endParaRPr lang="ko-KR" altLang="en-US" dirty="0">
              <a:solidFill>
                <a:schemeClr val="bg1">
                  <a:lumMod val="65000"/>
                </a:schemeClr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A63D2C7-D237-4D03-93FC-181A62B8AB20}"/>
              </a:ext>
            </a:extLst>
          </p:cNvPr>
          <p:cNvSpPr txBox="1"/>
          <p:nvPr/>
        </p:nvSpPr>
        <p:spPr>
          <a:xfrm>
            <a:off x="6760327" y="482360"/>
            <a:ext cx="8034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smtClean="0">
                <a:solidFill>
                  <a:schemeClr val="bg1">
                    <a:lumMod val="6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코드</a:t>
            </a:r>
            <a:r>
              <a:rPr lang="en-US" altLang="ko-KR" dirty="0">
                <a:solidFill>
                  <a:schemeClr val="bg1">
                    <a:lumMod val="6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 </a:t>
            </a:r>
            <a:r>
              <a:rPr lang="en-US" altLang="ko-KR" dirty="0" smtClean="0">
                <a:solidFill>
                  <a:schemeClr val="bg1">
                    <a:lumMod val="6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2</a:t>
            </a:r>
            <a:endParaRPr lang="ko-KR" altLang="en-US" dirty="0">
              <a:solidFill>
                <a:schemeClr val="bg1">
                  <a:lumMod val="65000"/>
                </a:schemeClr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FC7FBA5-4B58-410D-915A-64CEC33921CB}"/>
              </a:ext>
            </a:extLst>
          </p:cNvPr>
          <p:cNvSpPr txBox="1"/>
          <p:nvPr/>
        </p:nvSpPr>
        <p:spPr>
          <a:xfrm>
            <a:off x="7855220" y="482360"/>
            <a:ext cx="8146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smtClean="0">
                <a:solidFill>
                  <a:schemeClr val="bg1"/>
                </a:solidFill>
                <a:latin typeface="나눔스퀘어라운드 Bold" pitchFamily="50" charset="-127"/>
                <a:ea typeface="나눔스퀘어라운드 Bold" pitchFamily="50" charset="-127"/>
              </a:rPr>
              <a:t>무결성</a:t>
            </a:r>
            <a:endParaRPr lang="ko-KR" altLang="en-US" dirty="0">
              <a:solidFill>
                <a:schemeClr val="bg1"/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BA0ABCF-FD1D-4D14-A862-20A7E806931B}"/>
              </a:ext>
            </a:extLst>
          </p:cNvPr>
          <p:cNvSpPr txBox="1"/>
          <p:nvPr/>
        </p:nvSpPr>
        <p:spPr>
          <a:xfrm>
            <a:off x="8950112" y="482360"/>
            <a:ext cx="10246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 err="1" smtClean="0">
                <a:solidFill>
                  <a:schemeClr val="bg1">
                    <a:lumMod val="65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시간효율</a:t>
            </a:r>
            <a:endParaRPr lang="ko-KR" altLang="en-US" dirty="0">
              <a:solidFill>
                <a:schemeClr val="bg1">
                  <a:lumMod val="65000"/>
                </a:schemeClr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24"/>
          <a:stretch/>
        </p:blipFill>
        <p:spPr>
          <a:xfrm>
            <a:off x="3131021" y="1293959"/>
            <a:ext cx="8540981" cy="4968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9859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LrZb89C0.rW7H53NFspg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72</Words>
  <Application>Microsoft Office PowerPoint</Application>
  <PresentationFormat>와이드스크린</PresentationFormat>
  <Paragraphs>97</Paragraphs>
  <Slides>12</Slides>
  <Notes>1</Notes>
  <HiddenSlides>0</HiddenSlides>
  <MMClips>0</MMClips>
  <ScaleCrop>false</ScaleCrop>
  <HeadingPairs>
    <vt:vector size="8" baseType="variant">
      <vt:variant>
        <vt:lpstr>사용한 글꼴</vt:lpstr>
      </vt:variant>
      <vt:variant>
        <vt:i4>5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2</vt:i4>
      </vt:variant>
    </vt:vector>
  </HeadingPairs>
  <TitlesOfParts>
    <vt:vector size="19" baseType="lpstr">
      <vt:lpstr>나눔스퀘어라운드 Bold</vt:lpstr>
      <vt:lpstr>맑은 고딕</vt:lpstr>
      <vt:lpstr>12롯데마트드림Medium</vt:lpstr>
      <vt:lpstr>나눔스퀘어라운드 ExtraBold</vt:lpstr>
      <vt:lpstr>Arial</vt:lpstr>
      <vt:lpstr>Office 테마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/>
  <cp:lastModifiedBy/>
  <cp:revision>8</cp:revision>
  <dcterms:created xsi:type="dcterms:W3CDTF">2019-05-02T08:28:16Z</dcterms:created>
  <dcterms:modified xsi:type="dcterms:W3CDTF">2020-06-25T03:57:08Z</dcterms:modified>
</cp:coreProperties>
</file>